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3" r:id="rId4"/>
    <p:sldMasterId id="2147483666" r:id="rId5"/>
  </p:sldMasterIdLst>
  <p:notesMasterIdLst>
    <p:notesMasterId r:id="rId51"/>
  </p:notesMasterIdLst>
  <p:handoutMasterIdLst>
    <p:handoutMasterId r:id="rId52"/>
  </p:handoutMasterIdLst>
  <p:sldIdLst>
    <p:sldId id="483" r:id="rId6"/>
    <p:sldId id="1429" r:id="rId7"/>
    <p:sldId id="4079" r:id="rId8"/>
    <p:sldId id="1565" r:id="rId9"/>
    <p:sldId id="4080" r:id="rId10"/>
    <p:sldId id="4066" r:id="rId11"/>
    <p:sldId id="4081" r:id="rId12"/>
    <p:sldId id="1492" r:id="rId13"/>
    <p:sldId id="4069" r:id="rId14"/>
    <p:sldId id="4068" r:id="rId15"/>
    <p:sldId id="4076" r:id="rId16"/>
    <p:sldId id="4086" r:id="rId17"/>
    <p:sldId id="4094" r:id="rId18"/>
    <p:sldId id="4095" r:id="rId19"/>
    <p:sldId id="4096" r:id="rId20"/>
    <p:sldId id="4097" r:id="rId21"/>
    <p:sldId id="4104" r:id="rId22"/>
    <p:sldId id="4087" r:id="rId23"/>
    <p:sldId id="4098" r:id="rId24"/>
    <p:sldId id="4113" r:id="rId25"/>
    <p:sldId id="4099" r:id="rId26"/>
    <p:sldId id="4100" r:id="rId27"/>
    <p:sldId id="4114" r:id="rId28"/>
    <p:sldId id="4062" r:id="rId29"/>
    <p:sldId id="4088" r:id="rId30"/>
    <p:sldId id="4064" r:id="rId31"/>
    <p:sldId id="4101" r:id="rId32"/>
    <p:sldId id="4115" r:id="rId33"/>
    <p:sldId id="4102" r:id="rId34"/>
    <p:sldId id="4117" r:id="rId35"/>
    <p:sldId id="1124" r:id="rId36"/>
    <p:sldId id="4084" r:id="rId37"/>
    <p:sldId id="1569" r:id="rId38"/>
    <p:sldId id="4063" r:id="rId39"/>
    <p:sldId id="4085" r:id="rId40"/>
    <p:sldId id="4082" r:id="rId41"/>
    <p:sldId id="4077" r:id="rId42"/>
    <p:sldId id="4108" r:id="rId43"/>
    <p:sldId id="4109" r:id="rId44"/>
    <p:sldId id="4092" r:id="rId45"/>
    <p:sldId id="4107" r:id="rId46"/>
    <p:sldId id="4110" r:id="rId47"/>
    <p:sldId id="4111" r:id="rId48"/>
    <p:sldId id="4083" r:id="rId49"/>
    <p:sldId id="4054" r:id="rId50"/>
  </p:sldIdLst>
  <p:sldSz cx="9144000" cy="6858000" type="screen4x3"/>
  <p:notesSz cx="7010400" cy="9296400"/>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w, Yvonne (HPC)" initials="YC" lastIdx="2" clrIdx="0"/>
  <p:cmAuthor id="1" name="user" initials="u" lastIdx="2" clrIdx="1"/>
  <p:cmAuthor id="2" name="Michael Bailit" initials="MB" lastIdx="469" clrIdx="2"/>
  <p:cmAuthor id="3" name="Cristi Carman" initials="CC" lastIdx="0" clrIdx="3"/>
  <p:cmAuthor id="4" name="Deepti Kanneganti" initials="DK" lastIdx="316" clrIdx="4"/>
  <p:cmAuthor id="5" name="Deepti Kanneganti" initials="DK [2]" lastIdx="1" clrIdx="5"/>
  <p:cmAuthor id="6" name="Vivian Haime" initials="VH" lastIdx="1" clrIdx="6"/>
  <p:cmAuthor id="7" name="KSB" initials="KSB" lastIdx="5" clrIdx="7"/>
  <p:cmAuthor id="8" name="lshaughnessy" initials="ls" lastIdx="3" clrIdx="8"/>
  <p:cmAuthor id="9" name="Justine Zayhowski" initials="JZ" lastIdx="60" clrIdx="9"/>
  <p:cmAuthor id="10" name="Ahlgren, Lisa" initials="AL" lastIdx="1" clrIdx="10">
    <p:extLst>
      <p:ext uri="{19B8F6BF-5375-455C-9EA6-DF929625EA0E}">
        <p15:presenceInfo xmlns:p15="http://schemas.microsoft.com/office/powerpoint/2012/main" userId="S-1-5-21-320818509-2549926932-657949529-5936" providerId="AD"/>
      </p:ext>
    </p:extLst>
  </p:cmAuthor>
  <p:cmAuthor id="11" name="Michael" initials="M" lastIdx="10" clrIdx="11">
    <p:extLst>
      <p:ext uri="{19B8F6BF-5375-455C-9EA6-DF929625EA0E}">
        <p15:presenceInfo xmlns:p15="http://schemas.microsoft.com/office/powerpoint/2012/main" userId="S::mbailit@bailit-health.com::6e5c4604-85bf-41ef-8e97-4724b7d56589" providerId="AD"/>
      </p:ext>
    </p:extLst>
  </p:cmAuthor>
  <p:cmAuthor id="12" name="Erin Taylor" initials="ET" lastIdx="1" clrIdx="12">
    <p:extLst>
      <p:ext uri="{19B8F6BF-5375-455C-9EA6-DF929625EA0E}">
        <p15:presenceInfo xmlns:p15="http://schemas.microsoft.com/office/powerpoint/2012/main" userId="S::ETaylor@bailit-health.com::c09af165-50a0-4a78-8b32-79b157be4bff" providerId="AD"/>
      </p:ext>
    </p:extLst>
  </p:cmAuthor>
  <p:cmAuthor id="13" name="January Angeles" initials="JA" lastIdx="1" clrIdx="13">
    <p:extLst>
      <p:ext uri="{19B8F6BF-5375-455C-9EA6-DF929625EA0E}">
        <p15:presenceInfo xmlns:p15="http://schemas.microsoft.com/office/powerpoint/2012/main" userId="January Angel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3467"/>
    <a:srgbClr val="B2B2B2"/>
    <a:srgbClr val="002060"/>
    <a:srgbClr val="E79791"/>
    <a:srgbClr val="70AD47"/>
    <a:srgbClr val="FFC000"/>
    <a:srgbClr val="F4CFCC"/>
    <a:srgbClr val="003399"/>
    <a:srgbClr val="013366"/>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ACE924-E4DA-4D29-8218-7C062EE57CC5}" v="339" dt="2021-03-10T21:10:48.3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4" d="100"/>
          <a:sy n="54" d="100"/>
        </p:scale>
        <p:origin x="1440" y="60"/>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 Bailit" userId="6e5c4604-85bf-41ef-8e97-4724b7d56589" providerId="ADAL" clId="{11BB5495-0CDE-43B0-B95E-7710D31E7C2F}"/>
    <pc:docChg chg="undo custSel addSld delSld modSld">
      <pc:chgData name="Michael Bailit" userId="6e5c4604-85bf-41ef-8e97-4724b7d56589" providerId="ADAL" clId="{11BB5495-0CDE-43B0-B95E-7710D31E7C2F}" dt="2021-03-11T00:40:21.472" v="3549" actId="948"/>
      <pc:docMkLst>
        <pc:docMk/>
      </pc:docMkLst>
      <pc:sldChg chg="addCm modCm">
        <pc:chgData name="Michael Bailit" userId="6e5c4604-85bf-41ef-8e97-4724b7d56589" providerId="ADAL" clId="{11BB5495-0CDE-43B0-B95E-7710D31E7C2F}" dt="2021-03-10T01:09:43.462" v="229"/>
        <pc:sldMkLst>
          <pc:docMk/>
          <pc:sldMk cId="1210250860" sldId="483"/>
        </pc:sldMkLst>
      </pc:sldChg>
      <pc:sldChg chg="modSp mod addCm modCm">
        <pc:chgData name="Michael Bailit" userId="6e5c4604-85bf-41ef-8e97-4724b7d56589" providerId="ADAL" clId="{11BB5495-0CDE-43B0-B95E-7710D31E7C2F}" dt="2021-03-10T13:51:34.570" v="2907" actId="948"/>
        <pc:sldMkLst>
          <pc:docMk/>
          <pc:sldMk cId="3828190562" sldId="1124"/>
        </pc:sldMkLst>
        <pc:spChg chg="mod">
          <ac:chgData name="Michael Bailit" userId="6e5c4604-85bf-41ef-8e97-4724b7d56589" providerId="ADAL" clId="{11BB5495-0CDE-43B0-B95E-7710D31E7C2F}" dt="2021-03-10T13:51:34.570" v="2907" actId="948"/>
          <ac:spMkLst>
            <pc:docMk/>
            <pc:sldMk cId="3828190562" sldId="1124"/>
            <ac:spMk id="3" creationId="{13958191-8EAF-4015-BB89-36C2A72A048F}"/>
          </ac:spMkLst>
        </pc:spChg>
        <pc:graphicFrameChg chg="modGraphic">
          <ac:chgData name="Michael Bailit" userId="6e5c4604-85bf-41ef-8e97-4724b7d56589" providerId="ADAL" clId="{11BB5495-0CDE-43B0-B95E-7710D31E7C2F}" dt="2021-03-10T13:45:07.478" v="2813" actId="20577"/>
          <ac:graphicFrameMkLst>
            <pc:docMk/>
            <pc:sldMk cId="3828190562" sldId="1124"/>
            <ac:graphicFrameMk id="4" creationId="{1EFCD6C3-F3CB-4D49-AE47-B909A7812126}"/>
          </ac:graphicFrameMkLst>
        </pc:graphicFrameChg>
      </pc:sldChg>
      <pc:sldChg chg="modSp mod">
        <pc:chgData name="Michael Bailit" userId="6e5c4604-85bf-41ef-8e97-4724b7d56589" providerId="ADAL" clId="{11BB5495-0CDE-43B0-B95E-7710D31E7C2F}" dt="2021-03-10T13:56:54.473" v="3300" actId="20577"/>
        <pc:sldMkLst>
          <pc:docMk/>
          <pc:sldMk cId="690201876" sldId="1492"/>
        </pc:sldMkLst>
        <pc:graphicFrameChg chg="modGraphic">
          <ac:chgData name="Michael Bailit" userId="6e5c4604-85bf-41ef-8e97-4724b7d56589" providerId="ADAL" clId="{11BB5495-0CDE-43B0-B95E-7710D31E7C2F}" dt="2021-03-10T13:56:54.473" v="3300" actId="20577"/>
          <ac:graphicFrameMkLst>
            <pc:docMk/>
            <pc:sldMk cId="690201876" sldId="1492"/>
            <ac:graphicFrameMk id="4" creationId="{2BF16781-B2A9-4BFA-A6A2-944B11AC9EC1}"/>
          </ac:graphicFrameMkLst>
        </pc:graphicFrameChg>
      </pc:sldChg>
      <pc:sldChg chg="modSp mod modAnim addCm modCm">
        <pc:chgData name="Michael Bailit" userId="6e5c4604-85bf-41ef-8e97-4724b7d56589" providerId="ADAL" clId="{11BB5495-0CDE-43B0-B95E-7710D31E7C2F}" dt="2021-03-10T13:42:37.971" v="2785" actId="1589"/>
        <pc:sldMkLst>
          <pc:docMk/>
          <pc:sldMk cId="1958059492" sldId="1509"/>
        </pc:sldMkLst>
        <pc:spChg chg="mod">
          <ac:chgData name="Michael Bailit" userId="6e5c4604-85bf-41ef-8e97-4724b7d56589" providerId="ADAL" clId="{11BB5495-0CDE-43B0-B95E-7710D31E7C2F}" dt="2021-03-10T13:14:59.599" v="2774" actId="20577"/>
          <ac:spMkLst>
            <pc:docMk/>
            <pc:sldMk cId="1958059492" sldId="1509"/>
            <ac:spMk id="3" creationId="{216BDBF3-AD75-48CD-AB7C-5D5CDB6E9F43}"/>
          </ac:spMkLst>
        </pc:spChg>
      </pc:sldChg>
      <pc:sldChg chg="addCm modCm">
        <pc:chgData name="Michael Bailit" userId="6e5c4604-85bf-41ef-8e97-4724b7d56589" providerId="ADAL" clId="{11BB5495-0CDE-43B0-B95E-7710D31E7C2F}" dt="2021-03-10T13:43:38.308" v="2787"/>
        <pc:sldMkLst>
          <pc:docMk/>
          <pc:sldMk cId="3336706788" sldId="1511"/>
        </pc:sldMkLst>
      </pc:sldChg>
      <pc:sldChg chg="modSp mod">
        <pc:chgData name="Michael Bailit" userId="6e5c4604-85bf-41ef-8e97-4724b7d56589" providerId="ADAL" clId="{11BB5495-0CDE-43B0-B95E-7710D31E7C2F}" dt="2021-03-10T13:11:42.544" v="2688" actId="20577"/>
        <pc:sldMkLst>
          <pc:docMk/>
          <pc:sldMk cId="1884594512" sldId="1517"/>
        </pc:sldMkLst>
        <pc:graphicFrameChg chg="modGraphic">
          <ac:chgData name="Michael Bailit" userId="6e5c4604-85bf-41ef-8e97-4724b7d56589" providerId="ADAL" clId="{11BB5495-0CDE-43B0-B95E-7710D31E7C2F}" dt="2021-03-10T13:11:42.544" v="2688" actId="20577"/>
          <ac:graphicFrameMkLst>
            <pc:docMk/>
            <pc:sldMk cId="1884594512" sldId="1517"/>
            <ac:graphicFrameMk id="8" creationId="{7F5AF577-DAB2-4C65-B1BE-14A59046F72C}"/>
          </ac:graphicFrameMkLst>
        </pc:graphicFrameChg>
      </pc:sldChg>
      <pc:sldChg chg="modSp mod modAnim">
        <pc:chgData name="Michael Bailit" userId="6e5c4604-85bf-41ef-8e97-4724b7d56589" providerId="ADAL" clId="{11BB5495-0CDE-43B0-B95E-7710D31E7C2F}" dt="2021-03-10T13:13:51.838" v="2712"/>
        <pc:sldMkLst>
          <pc:docMk/>
          <pc:sldMk cId="3724312080" sldId="1520"/>
        </pc:sldMkLst>
        <pc:spChg chg="mod">
          <ac:chgData name="Michael Bailit" userId="6e5c4604-85bf-41ef-8e97-4724b7d56589" providerId="ADAL" clId="{11BB5495-0CDE-43B0-B95E-7710D31E7C2F}" dt="2021-03-10T13:13:12.307" v="2708" actId="20577"/>
          <ac:spMkLst>
            <pc:docMk/>
            <pc:sldMk cId="3724312080" sldId="1520"/>
            <ac:spMk id="3" creationId="{216BDBF3-AD75-48CD-AB7C-5D5CDB6E9F43}"/>
          </ac:spMkLst>
        </pc:spChg>
      </pc:sldChg>
      <pc:sldChg chg="modSp mod">
        <pc:chgData name="Michael Bailit" userId="6e5c4604-85bf-41ef-8e97-4724b7d56589" providerId="ADAL" clId="{11BB5495-0CDE-43B0-B95E-7710D31E7C2F}" dt="2021-03-10T00:50:43.406" v="19" actId="14100"/>
        <pc:sldMkLst>
          <pc:docMk/>
          <pc:sldMk cId="2718904717" sldId="1565"/>
        </pc:sldMkLst>
        <pc:spChg chg="mod">
          <ac:chgData name="Michael Bailit" userId="6e5c4604-85bf-41ef-8e97-4724b7d56589" providerId="ADAL" clId="{11BB5495-0CDE-43B0-B95E-7710D31E7C2F}" dt="2021-03-10T00:50:43.406" v="19" actId="14100"/>
          <ac:spMkLst>
            <pc:docMk/>
            <pc:sldMk cId="2718904717" sldId="1565"/>
            <ac:spMk id="3" creationId="{D4A8534B-B70C-4A4F-900E-3C9058F5AD18}"/>
          </ac:spMkLst>
        </pc:spChg>
      </pc:sldChg>
      <pc:sldChg chg="modSp mod">
        <pc:chgData name="Michael Bailit" userId="6e5c4604-85bf-41ef-8e97-4724b7d56589" providerId="ADAL" clId="{11BB5495-0CDE-43B0-B95E-7710D31E7C2F}" dt="2021-03-11T00:40:03.628" v="3548" actId="948"/>
        <pc:sldMkLst>
          <pc:docMk/>
          <pc:sldMk cId="2907942846" sldId="1569"/>
        </pc:sldMkLst>
        <pc:spChg chg="mod">
          <ac:chgData name="Michael Bailit" userId="6e5c4604-85bf-41ef-8e97-4724b7d56589" providerId="ADAL" clId="{11BB5495-0CDE-43B0-B95E-7710D31E7C2F}" dt="2021-03-11T00:40:03.628" v="3548" actId="948"/>
          <ac:spMkLst>
            <pc:docMk/>
            <pc:sldMk cId="2907942846" sldId="1569"/>
            <ac:spMk id="3" creationId="{0DA78782-B9BC-47ED-86E9-0393125BC5EE}"/>
          </ac:spMkLst>
        </pc:spChg>
        <pc:spChg chg="mod">
          <ac:chgData name="Michael Bailit" userId="6e5c4604-85bf-41ef-8e97-4724b7d56589" providerId="ADAL" clId="{11BB5495-0CDE-43B0-B95E-7710D31E7C2F}" dt="2021-03-10T13:54:39.547" v="3178" actId="14100"/>
          <ac:spMkLst>
            <pc:docMk/>
            <pc:sldMk cId="2907942846" sldId="1569"/>
            <ac:spMk id="5" creationId="{13B8357F-3D81-4D31-A46E-92500184776F}"/>
          </ac:spMkLst>
        </pc:spChg>
      </pc:sldChg>
      <pc:sldChg chg="modSp mod">
        <pc:chgData name="Michael Bailit" userId="6e5c4604-85bf-41ef-8e97-4724b7d56589" providerId="ADAL" clId="{11BB5495-0CDE-43B0-B95E-7710D31E7C2F}" dt="2021-03-10T13:57:41.909" v="3382" actId="20577"/>
        <pc:sldMkLst>
          <pc:docMk/>
          <pc:sldMk cId="1852964533" sldId="1570"/>
        </pc:sldMkLst>
        <pc:spChg chg="mod">
          <ac:chgData name="Michael Bailit" userId="6e5c4604-85bf-41ef-8e97-4724b7d56589" providerId="ADAL" clId="{11BB5495-0CDE-43B0-B95E-7710D31E7C2F}" dt="2021-03-10T13:55:15.068" v="3181" actId="948"/>
          <ac:spMkLst>
            <pc:docMk/>
            <pc:sldMk cId="1852964533" sldId="1570"/>
            <ac:spMk id="3" creationId="{07A86647-C74D-45BA-82FF-081B7E42D6C0}"/>
          </ac:spMkLst>
        </pc:spChg>
        <pc:spChg chg="mod">
          <ac:chgData name="Michael Bailit" userId="6e5c4604-85bf-41ef-8e97-4724b7d56589" providerId="ADAL" clId="{11BB5495-0CDE-43B0-B95E-7710D31E7C2F}" dt="2021-03-10T13:57:41.909" v="3382" actId="20577"/>
          <ac:spMkLst>
            <pc:docMk/>
            <pc:sldMk cId="1852964533" sldId="1570"/>
            <ac:spMk id="5" creationId="{E0DF4D3F-82F1-4E35-9A92-932B94B7C3B5}"/>
          </ac:spMkLst>
        </pc:spChg>
      </pc:sldChg>
      <pc:sldChg chg="delSp modSp mod addCm modCm">
        <pc:chgData name="Michael Bailit" userId="6e5c4604-85bf-41ef-8e97-4724b7d56589" providerId="ADAL" clId="{11BB5495-0CDE-43B0-B95E-7710D31E7C2F}" dt="2021-03-10T01:37:55.007" v="1171"/>
        <pc:sldMkLst>
          <pc:docMk/>
          <pc:sldMk cId="676161097" sldId="4062"/>
        </pc:sldMkLst>
        <pc:spChg chg="mod">
          <ac:chgData name="Michael Bailit" userId="6e5c4604-85bf-41ef-8e97-4724b7d56589" providerId="ADAL" clId="{11BB5495-0CDE-43B0-B95E-7710D31E7C2F}" dt="2021-03-10T01:34:58.448" v="1150" actId="20577"/>
          <ac:spMkLst>
            <pc:docMk/>
            <pc:sldMk cId="676161097" sldId="4062"/>
            <ac:spMk id="3" creationId="{8796EEB6-D932-4959-A2CE-5635ED427A24}"/>
          </ac:spMkLst>
        </pc:spChg>
        <pc:spChg chg="del mod">
          <ac:chgData name="Michael Bailit" userId="6e5c4604-85bf-41ef-8e97-4724b7d56589" providerId="ADAL" clId="{11BB5495-0CDE-43B0-B95E-7710D31E7C2F}" dt="2021-03-10T01:34:25.188" v="1145" actId="21"/>
          <ac:spMkLst>
            <pc:docMk/>
            <pc:sldMk cId="676161097" sldId="4062"/>
            <ac:spMk id="4" creationId="{24C5D144-6F9B-4EBF-9BB3-7338B1F3F672}"/>
          </ac:spMkLst>
        </pc:spChg>
      </pc:sldChg>
      <pc:sldChg chg="modSp mod">
        <pc:chgData name="Michael Bailit" userId="6e5c4604-85bf-41ef-8e97-4724b7d56589" providerId="ADAL" clId="{11BB5495-0CDE-43B0-B95E-7710D31E7C2F}" dt="2021-03-10T13:59:15.735" v="3443" actId="6549"/>
        <pc:sldMkLst>
          <pc:docMk/>
          <pc:sldMk cId="3640067537" sldId="4063"/>
        </pc:sldMkLst>
        <pc:spChg chg="mod">
          <ac:chgData name="Michael Bailit" userId="6e5c4604-85bf-41ef-8e97-4724b7d56589" providerId="ADAL" clId="{11BB5495-0CDE-43B0-B95E-7710D31E7C2F}" dt="2021-03-10T13:58:32.690" v="3403" actId="15"/>
          <ac:spMkLst>
            <pc:docMk/>
            <pc:sldMk cId="3640067537" sldId="4063"/>
            <ac:spMk id="3" creationId="{D4A8534B-B70C-4A4F-900E-3C9058F5AD18}"/>
          </ac:spMkLst>
        </pc:spChg>
        <pc:spChg chg="mod">
          <ac:chgData name="Michael Bailit" userId="6e5c4604-85bf-41ef-8e97-4724b7d56589" providerId="ADAL" clId="{11BB5495-0CDE-43B0-B95E-7710D31E7C2F}" dt="2021-03-10T13:59:15.735" v="3443" actId="6549"/>
          <ac:spMkLst>
            <pc:docMk/>
            <pc:sldMk cId="3640067537" sldId="4063"/>
            <ac:spMk id="4" creationId="{D3DCFCC0-2BAE-4B0D-A42F-396552B0241B}"/>
          </ac:spMkLst>
        </pc:spChg>
      </pc:sldChg>
      <pc:sldChg chg="modSp mod">
        <pc:chgData name="Michael Bailit" userId="6e5c4604-85bf-41ef-8e97-4724b7d56589" providerId="ADAL" clId="{11BB5495-0CDE-43B0-B95E-7710D31E7C2F}" dt="2021-03-10T01:38:58.510" v="1177" actId="255"/>
        <pc:sldMkLst>
          <pc:docMk/>
          <pc:sldMk cId="503826769" sldId="4064"/>
        </pc:sldMkLst>
        <pc:spChg chg="mod">
          <ac:chgData name="Michael Bailit" userId="6e5c4604-85bf-41ef-8e97-4724b7d56589" providerId="ADAL" clId="{11BB5495-0CDE-43B0-B95E-7710D31E7C2F}" dt="2021-03-10T01:38:58.510" v="1177" actId="255"/>
          <ac:spMkLst>
            <pc:docMk/>
            <pc:sldMk cId="503826769" sldId="4064"/>
            <ac:spMk id="3" creationId="{8796EEB6-D932-4959-A2CE-5635ED427A24}"/>
          </ac:spMkLst>
        </pc:spChg>
      </pc:sldChg>
      <pc:sldChg chg="modSp mod modAnim">
        <pc:chgData name="Michael Bailit" userId="6e5c4604-85bf-41ef-8e97-4724b7d56589" providerId="ADAL" clId="{11BB5495-0CDE-43B0-B95E-7710D31E7C2F}" dt="2021-03-10T00:53:44.949" v="55" actId="6549"/>
        <pc:sldMkLst>
          <pc:docMk/>
          <pc:sldMk cId="2149627426" sldId="4066"/>
        </pc:sldMkLst>
        <pc:spChg chg="mod">
          <ac:chgData name="Michael Bailit" userId="6e5c4604-85bf-41ef-8e97-4724b7d56589" providerId="ADAL" clId="{11BB5495-0CDE-43B0-B95E-7710D31E7C2F}" dt="2021-03-10T00:53:44.949" v="55" actId="6549"/>
          <ac:spMkLst>
            <pc:docMk/>
            <pc:sldMk cId="2149627426" sldId="4066"/>
            <ac:spMk id="3" creationId="{1E153C1F-EEE1-4406-AC25-738FF1B48C67}"/>
          </ac:spMkLst>
        </pc:spChg>
      </pc:sldChg>
      <pc:sldChg chg="modSp mod addCm modCm">
        <pc:chgData name="Michael Bailit" userId="6e5c4604-85bf-41ef-8e97-4724b7d56589" providerId="ADAL" clId="{11BB5495-0CDE-43B0-B95E-7710D31E7C2F}" dt="2021-03-10T01:16:11.236" v="413" actId="948"/>
        <pc:sldMkLst>
          <pc:docMk/>
          <pc:sldMk cId="2640927102" sldId="4068"/>
        </pc:sldMkLst>
        <pc:spChg chg="mod">
          <ac:chgData name="Michael Bailit" userId="6e5c4604-85bf-41ef-8e97-4724b7d56589" providerId="ADAL" clId="{11BB5495-0CDE-43B0-B95E-7710D31E7C2F}" dt="2021-03-10T01:16:11.236" v="413" actId="948"/>
          <ac:spMkLst>
            <pc:docMk/>
            <pc:sldMk cId="2640927102" sldId="4068"/>
            <ac:spMk id="3" creationId="{269C9A7D-066C-4B18-8C0D-A8C60ABB883B}"/>
          </ac:spMkLst>
        </pc:spChg>
        <pc:spChg chg="mod">
          <ac:chgData name="Michael Bailit" userId="6e5c4604-85bf-41ef-8e97-4724b7d56589" providerId="ADAL" clId="{11BB5495-0CDE-43B0-B95E-7710D31E7C2F}" dt="2021-03-10T01:06:42.458" v="223" actId="14100"/>
          <ac:spMkLst>
            <pc:docMk/>
            <pc:sldMk cId="2640927102" sldId="4068"/>
            <ac:spMk id="4" creationId="{8656D985-6B22-4CAD-8211-4D060A976575}"/>
          </ac:spMkLst>
        </pc:spChg>
      </pc:sldChg>
      <pc:sldChg chg="modSp mod modAnim addCm modCm">
        <pc:chgData name="Michael Bailit" userId="6e5c4604-85bf-41ef-8e97-4724b7d56589" providerId="ADAL" clId="{11BB5495-0CDE-43B0-B95E-7710D31E7C2F}" dt="2021-03-10T00:57:41.092" v="67"/>
        <pc:sldMkLst>
          <pc:docMk/>
          <pc:sldMk cId="3278514452" sldId="4069"/>
        </pc:sldMkLst>
        <pc:spChg chg="mod">
          <ac:chgData name="Michael Bailit" userId="6e5c4604-85bf-41ef-8e97-4724b7d56589" providerId="ADAL" clId="{11BB5495-0CDE-43B0-B95E-7710D31E7C2F}" dt="2021-03-10T00:56:13.393" v="65" actId="6549"/>
          <ac:spMkLst>
            <pc:docMk/>
            <pc:sldMk cId="3278514452" sldId="4069"/>
            <ac:spMk id="5" creationId="{8C65DC8F-88F6-4751-9D0C-91B4E41C5FCD}"/>
          </ac:spMkLst>
        </pc:spChg>
      </pc:sldChg>
      <pc:sldChg chg="modSp mod">
        <pc:chgData name="Michael Bailit" userId="6e5c4604-85bf-41ef-8e97-4724b7d56589" providerId="ADAL" clId="{11BB5495-0CDE-43B0-B95E-7710D31E7C2F}" dt="2021-03-10T01:15:23.979" v="374" actId="1076"/>
        <pc:sldMkLst>
          <pc:docMk/>
          <pc:sldMk cId="2865607598" sldId="4076"/>
        </pc:sldMkLst>
        <pc:spChg chg="mod">
          <ac:chgData name="Michael Bailit" userId="6e5c4604-85bf-41ef-8e97-4724b7d56589" providerId="ADAL" clId="{11BB5495-0CDE-43B0-B95E-7710D31E7C2F}" dt="2021-03-10T01:15:23.979" v="374" actId="1076"/>
          <ac:spMkLst>
            <pc:docMk/>
            <pc:sldMk cId="2865607598" sldId="4076"/>
            <ac:spMk id="3" creationId="{7D3CD307-04CA-4A5F-87F7-F2350CEA8818}"/>
          </ac:spMkLst>
        </pc:spChg>
      </pc:sldChg>
      <pc:sldChg chg="modSp mod">
        <pc:chgData name="Michael Bailit" userId="6e5c4604-85bf-41ef-8e97-4724b7d56589" providerId="ADAL" clId="{11BB5495-0CDE-43B0-B95E-7710D31E7C2F}" dt="2021-03-11T00:39:50.880" v="3547" actId="948"/>
        <pc:sldMkLst>
          <pc:docMk/>
          <pc:sldMk cId="445429999" sldId="4077"/>
        </pc:sldMkLst>
        <pc:spChg chg="mod">
          <ac:chgData name="Michael Bailit" userId="6e5c4604-85bf-41ef-8e97-4724b7d56589" providerId="ADAL" clId="{11BB5495-0CDE-43B0-B95E-7710D31E7C2F}" dt="2021-03-11T00:39:50.880" v="3547" actId="948"/>
          <ac:spMkLst>
            <pc:docMk/>
            <pc:sldMk cId="445429999" sldId="4077"/>
            <ac:spMk id="3" creationId="{CD926FAF-1182-4146-AA14-ACE4CC8DE26D}"/>
          </ac:spMkLst>
        </pc:spChg>
      </pc:sldChg>
      <pc:sldChg chg="modSp mod">
        <pc:chgData name="Michael Bailit" userId="6e5c4604-85bf-41ef-8e97-4724b7d56589" providerId="ADAL" clId="{11BB5495-0CDE-43B0-B95E-7710D31E7C2F}" dt="2021-03-10T18:14:20.271" v="3544" actId="1076"/>
        <pc:sldMkLst>
          <pc:docMk/>
          <pc:sldMk cId="3800047514" sldId="4078"/>
        </pc:sldMkLst>
        <pc:spChg chg="mod">
          <ac:chgData name="Michael Bailit" userId="6e5c4604-85bf-41ef-8e97-4724b7d56589" providerId="ADAL" clId="{11BB5495-0CDE-43B0-B95E-7710D31E7C2F}" dt="2021-03-10T18:14:20.271" v="3544" actId="1076"/>
          <ac:spMkLst>
            <pc:docMk/>
            <pc:sldMk cId="3800047514" sldId="4078"/>
            <ac:spMk id="4" creationId="{64894902-3737-4838-B489-F300439D98D6}"/>
          </ac:spMkLst>
        </pc:spChg>
      </pc:sldChg>
      <pc:sldChg chg="modSp mod">
        <pc:chgData name="Michael Bailit" userId="6e5c4604-85bf-41ef-8e97-4724b7d56589" providerId="ADAL" clId="{11BB5495-0CDE-43B0-B95E-7710D31E7C2F}" dt="2021-03-11T00:40:21.472" v="3549" actId="948"/>
        <pc:sldMkLst>
          <pc:docMk/>
          <pc:sldMk cId="2390967901" sldId="4084"/>
        </pc:sldMkLst>
        <pc:spChg chg="mod">
          <ac:chgData name="Michael Bailit" userId="6e5c4604-85bf-41ef-8e97-4724b7d56589" providerId="ADAL" clId="{11BB5495-0CDE-43B0-B95E-7710D31E7C2F}" dt="2021-03-11T00:40:21.472" v="3549" actId="948"/>
          <ac:spMkLst>
            <pc:docMk/>
            <pc:sldMk cId="2390967901" sldId="4084"/>
            <ac:spMk id="3" creationId="{1B7CAB5F-A75D-4B50-9880-73D9AB580C06}"/>
          </ac:spMkLst>
        </pc:spChg>
        <pc:spChg chg="mod">
          <ac:chgData name="Michael Bailit" userId="6e5c4604-85bf-41ef-8e97-4724b7d56589" providerId="ADAL" clId="{11BB5495-0CDE-43B0-B95E-7710D31E7C2F}" dt="2021-03-10T13:48:55.013" v="2890" actId="20577"/>
          <ac:spMkLst>
            <pc:docMk/>
            <pc:sldMk cId="2390967901" sldId="4084"/>
            <ac:spMk id="4" creationId="{92D075E3-D721-4CCA-98BB-BC82D0A21DD3}"/>
          </ac:spMkLst>
        </pc:spChg>
        <pc:graphicFrameChg chg="mod">
          <ac:chgData name="Michael Bailit" userId="6e5c4604-85bf-41ef-8e97-4724b7d56589" providerId="ADAL" clId="{11BB5495-0CDE-43B0-B95E-7710D31E7C2F}" dt="2021-03-10T13:51:19.482" v="2906" actId="1076"/>
          <ac:graphicFrameMkLst>
            <pc:docMk/>
            <pc:sldMk cId="2390967901" sldId="4084"/>
            <ac:graphicFrameMk id="5" creationId="{6B5E31FD-6D7B-42E7-B525-35BC482E2031}"/>
          </ac:graphicFrameMkLst>
        </pc:graphicFrameChg>
      </pc:sldChg>
      <pc:sldChg chg="modSp mod addCm delCm modCm">
        <pc:chgData name="Michael Bailit" userId="6e5c4604-85bf-41ef-8e97-4724b7d56589" providerId="ADAL" clId="{11BB5495-0CDE-43B0-B95E-7710D31E7C2F}" dt="2021-03-10T01:21:54.432" v="495" actId="1592"/>
        <pc:sldMkLst>
          <pc:docMk/>
          <pc:sldMk cId="4201824155" sldId="4086"/>
        </pc:sldMkLst>
        <pc:spChg chg="mod">
          <ac:chgData name="Michael Bailit" userId="6e5c4604-85bf-41ef-8e97-4724b7d56589" providerId="ADAL" clId="{11BB5495-0CDE-43B0-B95E-7710D31E7C2F}" dt="2021-03-10T01:18:55.267" v="483" actId="14100"/>
          <ac:spMkLst>
            <pc:docMk/>
            <pc:sldMk cId="4201824155" sldId="4086"/>
            <ac:spMk id="3" creationId="{7D3CD307-04CA-4A5F-87F7-F2350CEA8818}"/>
          </ac:spMkLst>
        </pc:spChg>
      </pc:sldChg>
      <pc:sldChg chg="modSp mod">
        <pc:chgData name="Michael Bailit" userId="6e5c4604-85bf-41ef-8e97-4724b7d56589" providerId="ADAL" clId="{11BB5495-0CDE-43B0-B95E-7710D31E7C2F}" dt="2021-03-10T01:22:47.919" v="579" actId="1076"/>
        <pc:sldMkLst>
          <pc:docMk/>
          <pc:sldMk cId="98089409" sldId="4087"/>
        </pc:sldMkLst>
        <pc:spChg chg="mod">
          <ac:chgData name="Michael Bailit" userId="6e5c4604-85bf-41ef-8e97-4724b7d56589" providerId="ADAL" clId="{11BB5495-0CDE-43B0-B95E-7710D31E7C2F}" dt="2021-03-10T01:22:47.919" v="579" actId="1076"/>
          <ac:spMkLst>
            <pc:docMk/>
            <pc:sldMk cId="98089409" sldId="4087"/>
            <ac:spMk id="3" creationId="{7D3CD307-04CA-4A5F-87F7-F2350CEA8818}"/>
          </ac:spMkLst>
        </pc:spChg>
      </pc:sldChg>
      <pc:sldChg chg="modSp mod">
        <pc:chgData name="Michael Bailit" userId="6e5c4604-85bf-41ef-8e97-4724b7d56589" providerId="ADAL" clId="{11BB5495-0CDE-43B0-B95E-7710D31E7C2F}" dt="2021-03-10T01:35:59.760" v="1167" actId="20577"/>
        <pc:sldMkLst>
          <pc:docMk/>
          <pc:sldMk cId="315649062" sldId="4088"/>
        </pc:sldMkLst>
        <pc:spChg chg="mod">
          <ac:chgData name="Michael Bailit" userId="6e5c4604-85bf-41ef-8e97-4724b7d56589" providerId="ADAL" clId="{11BB5495-0CDE-43B0-B95E-7710D31E7C2F}" dt="2021-03-10T01:35:59.760" v="1167" actId="20577"/>
          <ac:spMkLst>
            <pc:docMk/>
            <pc:sldMk cId="315649062" sldId="4088"/>
            <ac:spMk id="3" creationId="{8796EEB6-D932-4959-A2CE-5635ED427A24}"/>
          </ac:spMkLst>
        </pc:spChg>
      </pc:sldChg>
      <pc:sldChg chg="addCm modCm">
        <pc:chgData name="Michael Bailit" userId="6e5c4604-85bf-41ef-8e97-4724b7d56589" providerId="ADAL" clId="{11BB5495-0CDE-43B0-B95E-7710D31E7C2F}" dt="2021-03-10T18:15:25.598" v="3546"/>
        <pc:sldMkLst>
          <pc:docMk/>
          <pc:sldMk cId="1387018150" sldId="4092"/>
        </pc:sldMkLst>
      </pc:sldChg>
      <pc:sldChg chg="modSp mod">
        <pc:chgData name="Michael Bailit" userId="6e5c4604-85bf-41ef-8e97-4724b7d56589" providerId="ADAL" clId="{11BB5495-0CDE-43B0-B95E-7710D31E7C2F}" dt="2021-03-10T01:19:24.377" v="484" actId="14100"/>
        <pc:sldMkLst>
          <pc:docMk/>
          <pc:sldMk cId="979638190" sldId="4094"/>
        </pc:sldMkLst>
        <pc:spChg chg="mod">
          <ac:chgData name="Michael Bailit" userId="6e5c4604-85bf-41ef-8e97-4724b7d56589" providerId="ADAL" clId="{11BB5495-0CDE-43B0-B95E-7710D31E7C2F}" dt="2021-03-10T01:19:24.377" v="484" actId="14100"/>
          <ac:spMkLst>
            <pc:docMk/>
            <pc:sldMk cId="979638190" sldId="4094"/>
            <ac:spMk id="3" creationId="{74DA07F6-EF0A-4D52-B717-DA63E03FF277}"/>
          </ac:spMkLst>
        </pc:spChg>
      </pc:sldChg>
      <pc:sldChg chg="delSp mod">
        <pc:chgData name="Michael Bailit" userId="6e5c4604-85bf-41ef-8e97-4724b7d56589" providerId="ADAL" clId="{11BB5495-0CDE-43B0-B95E-7710D31E7C2F}" dt="2021-03-10T01:19:54.264" v="485" actId="21"/>
        <pc:sldMkLst>
          <pc:docMk/>
          <pc:sldMk cId="376238641" sldId="4097"/>
        </pc:sldMkLst>
        <pc:spChg chg="del">
          <ac:chgData name="Michael Bailit" userId="6e5c4604-85bf-41ef-8e97-4724b7d56589" providerId="ADAL" clId="{11BB5495-0CDE-43B0-B95E-7710D31E7C2F}" dt="2021-03-10T01:19:54.264" v="485" actId="21"/>
          <ac:spMkLst>
            <pc:docMk/>
            <pc:sldMk cId="376238641" sldId="4097"/>
            <ac:spMk id="3" creationId="{863D16E1-396B-4C92-9079-58C516B91C36}"/>
          </ac:spMkLst>
        </pc:spChg>
      </pc:sldChg>
      <pc:sldChg chg="modSp mod modAnim">
        <pc:chgData name="Michael Bailit" userId="6e5c4604-85bf-41ef-8e97-4724b7d56589" providerId="ADAL" clId="{11BB5495-0CDE-43B0-B95E-7710D31E7C2F}" dt="2021-03-10T01:25:19.980" v="650" actId="20577"/>
        <pc:sldMkLst>
          <pc:docMk/>
          <pc:sldMk cId="426018858" sldId="4098"/>
        </pc:sldMkLst>
        <pc:spChg chg="mod">
          <ac:chgData name="Michael Bailit" userId="6e5c4604-85bf-41ef-8e97-4724b7d56589" providerId="ADAL" clId="{11BB5495-0CDE-43B0-B95E-7710D31E7C2F}" dt="2021-03-10T01:25:19.980" v="650" actId="20577"/>
          <ac:spMkLst>
            <pc:docMk/>
            <pc:sldMk cId="426018858" sldId="4098"/>
            <ac:spMk id="3" creationId="{4F002E3A-FCA0-4435-AFDE-6B69FC226C23}"/>
          </ac:spMkLst>
        </pc:spChg>
      </pc:sldChg>
      <pc:sldChg chg="modSp mod">
        <pc:chgData name="Michael Bailit" userId="6e5c4604-85bf-41ef-8e97-4724b7d56589" providerId="ADAL" clId="{11BB5495-0CDE-43B0-B95E-7710D31E7C2F}" dt="2021-03-10T01:27:10.743" v="663" actId="113"/>
        <pc:sldMkLst>
          <pc:docMk/>
          <pc:sldMk cId="2021496966" sldId="4099"/>
        </pc:sldMkLst>
        <pc:spChg chg="mod">
          <ac:chgData name="Michael Bailit" userId="6e5c4604-85bf-41ef-8e97-4724b7d56589" providerId="ADAL" clId="{11BB5495-0CDE-43B0-B95E-7710D31E7C2F}" dt="2021-03-10T01:27:10.743" v="663" actId="113"/>
          <ac:spMkLst>
            <pc:docMk/>
            <pc:sldMk cId="2021496966" sldId="4099"/>
            <ac:spMk id="3" creationId="{8D4B2B78-AB15-466E-A6D5-FE9C8BA4BF26}"/>
          </ac:spMkLst>
        </pc:spChg>
      </pc:sldChg>
      <pc:sldChg chg="modSp mod">
        <pc:chgData name="Michael Bailit" userId="6e5c4604-85bf-41ef-8e97-4724b7d56589" providerId="ADAL" clId="{11BB5495-0CDE-43B0-B95E-7710D31E7C2F}" dt="2021-03-10T01:27:44.617" v="666" actId="948"/>
        <pc:sldMkLst>
          <pc:docMk/>
          <pc:sldMk cId="669443259" sldId="4100"/>
        </pc:sldMkLst>
        <pc:spChg chg="mod">
          <ac:chgData name="Michael Bailit" userId="6e5c4604-85bf-41ef-8e97-4724b7d56589" providerId="ADAL" clId="{11BB5495-0CDE-43B0-B95E-7710D31E7C2F}" dt="2021-03-10T01:27:44.617" v="666" actId="948"/>
          <ac:spMkLst>
            <pc:docMk/>
            <pc:sldMk cId="669443259" sldId="4100"/>
            <ac:spMk id="3" creationId="{50952A9C-659D-4118-B38A-C7661325361A}"/>
          </ac:spMkLst>
        </pc:spChg>
      </pc:sldChg>
      <pc:sldChg chg="modSp mod">
        <pc:chgData name="Michael Bailit" userId="6e5c4604-85bf-41ef-8e97-4724b7d56589" providerId="ADAL" clId="{11BB5495-0CDE-43B0-B95E-7710D31E7C2F}" dt="2021-03-10T01:40:01.419" v="1185" actId="20577"/>
        <pc:sldMkLst>
          <pc:docMk/>
          <pc:sldMk cId="4234518144" sldId="4101"/>
        </pc:sldMkLst>
        <pc:spChg chg="mod">
          <ac:chgData name="Michael Bailit" userId="6e5c4604-85bf-41ef-8e97-4724b7d56589" providerId="ADAL" clId="{11BB5495-0CDE-43B0-B95E-7710D31E7C2F}" dt="2021-03-10T01:39:23.751" v="1178" actId="20577"/>
          <ac:spMkLst>
            <pc:docMk/>
            <pc:sldMk cId="4234518144" sldId="4101"/>
            <ac:spMk id="2" creationId="{9F065AEE-6DA2-4734-BC8C-F528C1D187E7}"/>
          </ac:spMkLst>
        </pc:spChg>
        <pc:spChg chg="mod">
          <ac:chgData name="Michael Bailit" userId="6e5c4604-85bf-41ef-8e97-4724b7d56589" providerId="ADAL" clId="{11BB5495-0CDE-43B0-B95E-7710D31E7C2F}" dt="2021-03-10T01:40:01.419" v="1185" actId="20577"/>
          <ac:spMkLst>
            <pc:docMk/>
            <pc:sldMk cId="4234518144" sldId="4101"/>
            <ac:spMk id="3" creationId="{A4B18751-5999-4242-825E-F8EB2220B7A5}"/>
          </ac:spMkLst>
        </pc:spChg>
      </pc:sldChg>
      <pc:sldChg chg="modSp mod modAnim">
        <pc:chgData name="Michael Bailit" userId="6e5c4604-85bf-41ef-8e97-4724b7d56589" providerId="ADAL" clId="{11BB5495-0CDE-43B0-B95E-7710D31E7C2F}" dt="2021-03-10T02:00:35.449" v="2010" actId="14100"/>
        <pc:sldMkLst>
          <pc:docMk/>
          <pc:sldMk cId="1355210529" sldId="4102"/>
        </pc:sldMkLst>
        <pc:spChg chg="mod">
          <ac:chgData name="Michael Bailit" userId="6e5c4604-85bf-41ef-8e97-4724b7d56589" providerId="ADAL" clId="{11BB5495-0CDE-43B0-B95E-7710D31E7C2F}" dt="2021-03-10T01:55:22.882" v="1537" actId="20577"/>
          <ac:spMkLst>
            <pc:docMk/>
            <pc:sldMk cId="1355210529" sldId="4102"/>
            <ac:spMk id="2" creationId="{69E4211F-0C01-4EC1-964E-9966E2523F23}"/>
          </ac:spMkLst>
        </pc:spChg>
        <pc:spChg chg="mod">
          <ac:chgData name="Michael Bailit" userId="6e5c4604-85bf-41ef-8e97-4724b7d56589" providerId="ADAL" clId="{11BB5495-0CDE-43B0-B95E-7710D31E7C2F}" dt="2021-03-10T02:00:35.449" v="2010" actId="14100"/>
          <ac:spMkLst>
            <pc:docMk/>
            <pc:sldMk cId="1355210529" sldId="4102"/>
            <ac:spMk id="3" creationId="{1C31389C-7B7F-4C4D-AA2F-63843E0A80FF}"/>
          </ac:spMkLst>
        </pc:spChg>
      </pc:sldChg>
      <pc:sldChg chg="del">
        <pc:chgData name="Michael Bailit" userId="6e5c4604-85bf-41ef-8e97-4724b7d56589" providerId="ADAL" clId="{11BB5495-0CDE-43B0-B95E-7710D31E7C2F}" dt="2021-03-10T02:07:33.726" v="2611" actId="2696"/>
        <pc:sldMkLst>
          <pc:docMk/>
          <pc:sldMk cId="2310526402" sldId="4103"/>
        </pc:sldMkLst>
      </pc:sldChg>
      <pc:sldChg chg="modSp mod">
        <pc:chgData name="Michael Bailit" userId="6e5c4604-85bf-41ef-8e97-4724b7d56589" providerId="ADAL" clId="{11BB5495-0CDE-43B0-B95E-7710D31E7C2F}" dt="2021-03-10T01:21:21.886" v="494" actId="14100"/>
        <pc:sldMkLst>
          <pc:docMk/>
          <pc:sldMk cId="2804916555" sldId="4104"/>
        </pc:sldMkLst>
        <pc:spChg chg="mod">
          <ac:chgData name="Michael Bailit" userId="6e5c4604-85bf-41ef-8e97-4724b7d56589" providerId="ADAL" clId="{11BB5495-0CDE-43B0-B95E-7710D31E7C2F}" dt="2021-03-10T01:21:21.886" v="494" actId="14100"/>
          <ac:spMkLst>
            <pc:docMk/>
            <pc:sldMk cId="2804916555" sldId="4104"/>
            <ac:spMk id="3" creationId="{4832C854-FFC0-4D1D-839F-727490605611}"/>
          </ac:spMkLst>
        </pc:spChg>
      </pc:sldChg>
      <pc:sldChg chg="modSp mod modAnim">
        <pc:chgData name="Michael Bailit" userId="6e5c4604-85bf-41ef-8e97-4724b7d56589" providerId="ADAL" clId="{11BB5495-0CDE-43B0-B95E-7710D31E7C2F}" dt="2021-03-10T13:11:00.326" v="2684"/>
        <pc:sldMkLst>
          <pc:docMk/>
          <pc:sldMk cId="3740503912" sldId="4106"/>
        </pc:sldMkLst>
        <pc:spChg chg="mod">
          <ac:chgData name="Michael Bailit" userId="6e5c4604-85bf-41ef-8e97-4724b7d56589" providerId="ADAL" clId="{11BB5495-0CDE-43B0-B95E-7710D31E7C2F}" dt="2021-03-10T13:10:45.883" v="2682" actId="948"/>
          <ac:spMkLst>
            <pc:docMk/>
            <pc:sldMk cId="3740503912" sldId="4106"/>
            <ac:spMk id="3" creationId="{045177A7-05C4-4B05-8EBA-6BBD2AD9A832}"/>
          </ac:spMkLst>
        </pc:spChg>
      </pc:sldChg>
      <pc:sldChg chg="modSp mod">
        <pc:chgData name="Michael Bailit" userId="6e5c4604-85bf-41ef-8e97-4724b7d56589" providerId="ADAL" clId="{11BB5495-0CDE-43B0-B95E-7710D31E7C2F}" dt="2021-03-10T18:10:02.563" v="3491" actId="14100"/>
        <pc:sldMkLst>
          <pc:docMk/>
          <pc:sldMk cId="1168812470" sldId="4108"/>
        </pc:sldMkLst>
        <pc:spChg chg="mod">
          <ac:chgData name="Michael Bailit" userId="6e5c4604-85bf-41ef-8e97-4724b7d56589" providerId="ADAL" clId="{11BB5495-0CDE-43B0-B95E-7710D31E7C2F}" dt="2021-03-10T18:10:02.563" v="3491" actId="14100"/>
          <ac:spMkLst>
            <pc:docMk/>
            <pc:sldMk cId="1168812470" sldId="4108"/>
            <ac:spMk id="3" creationId="{D0E65412-C2A9-493A-A29B-2861F2AED47C}"/>
          </ac:spMkLst>
        </pc:spChg>
      </pc:sldChg>
      <pc:sldChg chg="modSp mod">
        <pc:chgData name="Michael Bailit" userId="6e5c4604-85bf-41ef-8e97-4724b7d56589" providerId="ADAL" clId="{11BB5495-0CDE-43B0-B95E-7710D31E7C2F}" dt="2021-03-10T18:10:33.544" v="3494" actId="948"/>
        <pc:sldMkLst>
          <pc:docMk/>
          <pc:sldMk cId="3683379017" sldId="4109"/>
        </pc:sldMkLst>
        <pc:spChg chg="mod">
          <ac:chgData name="Michael Bailit" userId="6e5c4604-85bf-41ef-8e97-4724b7d56589" providerId="ADAL" clId="{11BB5495-0CDE-43B0-B95E-7710D31E7C2F}" dt="2021-03-10T18:10:33.544" v="3494" actId="948"/>
          <ac:spMkLst>
            <pc:docMk/>
            <pc:sldMk cId="3683379017" sldId="4109"/>
            <ac:spMk id="3" creationId="{D0E65412-C2A9-493A-A29B-2861F2AED47C}"/>
          </ac:spMkLst>
        </pc:spChg>
      </pc:sldChg>
      <pc:sldChg chg="modSp mod">
        <pc:chgData name="Michael Bailit" userId="6e5c4604-85bf-41ef-8e97-4724b7d56589" providerId="ADAL" clId="{11BB5495-0CDE-43B0-B95E-7710D31E7C2F}" dt="2021-03-10T18:12:47.229" v="3504" actId="6549"/>
        <pc:sldMkLst>
          <pc:docMk/>
          <pc:sldMk cId="566731374" sldId="4110"/>
        </pc:sldMkLst>
        <pc:graphicFrameChg chg="modGraphic">
          <ac:chgData name="Michael Bailit" userId="6e5c4604-85bf-41ef-8e97-4724b7d56589" providerId="ADAL" clId="{11BB5495-0CDE-43B0-B95E-7710D31E7C2F}" dt="2021-03-10T18:12:47.229" v="3504" actId="6549"/>
          <ac:graphicFrameMkLst>
            <pc:docMk/>
            <pc:sldMk cId="566731374" sldId="4110"/>
            <ac:graphicFrameMk id="5" creationId="{96EDC3CB-491E-487B-8655-0D1E72ED314F}"/>
          </ac:graphicFrameMkLst>
        </pc:graphicFrameChg>
      </pc:sldChg>
      <pc:sldChg chg="modSp mod">
        <pc:chgData name="Michael Bailit" userId="6e5c4604-85bf-41ef-8e97-4724b7d56589" providerId="ADAL" clId="{11BB5495-0CDE-43B0-B95E-7710D31E7C2F}" dt="2021-03-10T18:13:17.302" v="3506" actId="1076"/>
        <pc:sldMkLst>
          <pc:docMk/>
          <pc:sldMk cId="1234897451" sldId="4111"/>
        </pc:sldMkLst>
        <pc:graphicFrameChg chg="mod modGraphic">
          <ac:chgData name="Michael Bailit" userId="6e5c4604-85bf-41ef-8e97-4724b7d56589" providerId="ADAL" clId="{11BB5495-0CDE-43B0-B95E-7710D31E7C2F}" dt="2021-03-10T18:13:17.302" v="3506" actId="1076"/>
          <ac:graphicFrameMkLst>
            <pc:docMk/>
            <pc:sldMk cId="1234897451" sldId="4111"/>
            <ac:graphicFrameMk id="5" creationId="{96EDC3CB-491E-487B-8655-0D1E72ED314F}"/>
          </ac:graphicFrameMkLst>
        </pc:graphicFrameChg>
      </pc:sldChg>
      <pc:sldChg chg="modSp mod">
        <pc:chgData name="Michael Bailit" userId="6e5c4604-85bf-41ef-8e97-4724b7d56589" providerId="ADAL" clId="{11BB5495-0CDE-43B0-B95E-7710D31E7C2F}" dt="2021-03-10T18:12:14.165" v="3495" actId="255"/>
        <pc:sldMkLst>
          <pc:docMk/>
          <pc:sldMk cId="3952943687" sldId="4112"/>
        </pc:sldMkLst>
        <pc:graphicFrameChg chg="modGraphic">
          <ac:chgData name="Michael Bailit" userId="6e5c4604-85bf-41ef-8e97-4724b7d56589" providerId="ADAL" clId="{11BB5495-0CDE-43B0-B95E-7710D31E7C2F}" dt="2021-03-10T18:12:14.165" v="3495" actId="255"/>
          <ac:graphicFrameMkLst>
            <pc:docMk/>
            <pc:sldMk cId="3952943687" sldId="4112"/>
            <ac:graphicFrameMk id="5" creationId="{96EDC3CB-491E-487B-8655-0D1E72ED314F}"/>
          </ac:graphicFrameMkLst>
        </pc:graphicFrameChg>
      </pc:sldChg>
      <pc:sldChg chg="modSp add mod modAnim">
        <pc:chgData name="Michael Bailit" userId="6e5c4604-85bf-41ef-8e97-4724b7d56589" providerId="ADAL" clId="{11BB5495-0CDE-43B0-B95E-7710D31E7C2F}" dt="2021-03-10T01:26:51.378" v="660" actId="14100"/>
        <pc:sldMkLst>
          <pc:docMk/>
          <pc:sldMk cId="677156392" sldId="4113"/>
        </pc:sldMkLst>
        <pc:spChg chg="mod">
          <ac:chgData name="Michael Bailit" userId="6e5c4604-85bf-41ef-8e97-4724b7d56589" providerId="ADAL" clId="{11BB5495-0CDE-43B0-B95E-7710D31E7C2F}" dt="2021-03-10T01:26:51.378" v="660" actId="14100"/>
          <ac:spMkLst>
            <pc:docMk/>
            <pc:sldMk cId="677156392" sldId="4113"/>
            <ac:spMk id="3" creationId="{4F002E3A-FCA0-4435-AFDE-6B69FC226C23}"/>
          </ac:spMkLst>
        </pc:spChg>
      </pc:sldChg>
      <pc:sldChg chg="new del">
        <pc:chgData name="Michael Bailit" userId="6e5c4604-85bf-41ef-8e97-4724b7d56589" providerId="ADAL" clId="{11BB5495-0CDE-43B0-B95E-7710D31E7C2F}" dt="2021-03-10T01:28:50.327" v="671" actId="680"/>
        <pc:sldMkLst>
          <pc:docMk/>
          <pc:sldMk cId="1270810071" sldId="4114"/>
        </pc:sldMkLst>
      </pc:sldChg>
      <pc:sldChg chg="modSp add mod addCm modCm">
        <pc:chgData name="Michael Bailit" userId="6e5c4604-85bf-41ef-8e97-4724b7d56589" providerId="ADAL" clId="{11BB5495-0CDE-43B0-B95E-7710D31E7C2F}" dt="2021-03-10T01:41:39.345" v="1201" actId="20577"/>
        <pc:sldMkLst>
          <pc:docMk/>
          <pc:sldMk cId="2234331272" sldId="4114"/>
        </pc:sldMkLst>
        <pc:spChg chg="mod">
          <ac:chgData name="Michael Bailit" userId="6e5c4604-85bf-41ef-8e97-4724b7d56589" providerId="ADAL" clId="{11BB5495-0CDE-43B0-B95E-7710D31E7C2F}" dt="2021-03-10T01:41:39.345" v="1201" actId="20577"/>
          <ac:spMkLst>
            <pc:docMk/>
            <pc:sldMk cId="2234331272" sldId="4114"/>
            <ac:spMk id="3" creationId="{50952A9C-659D-4118-B38A-C7661325361A}"/>
          </ac:spMkLst>
        </pc:spChg>
      </pc:sldChg>
      <pc:sldChg chg="addSp delSp modSp add mod modAnim">
        <pc:chgData name="Michael Bailit" userId="6e5c4604-85bf-41ef-8e97-4724b7d56589" providerId="ADAL" clId="{11BB5495-0CDE-43B0-B95E-7710D31E7C2F}" dt="2021-03-10T01:50:02.321" v="1505" actId="20577"/>
        <pc:sldMkLst>
          <pc:docMk/>
          <pc:sldMk cId="4181258107" sldId="4115"/>
        </pc:sldMkLst>
        <pc:spChg chg="mod">
          <ac:chgData name="Michael Bailit" userId="6e5c4604-85bf-41ef-8e97-4724b7d56589" providerId="ADAL" clId="{11BB5495-0CDE-43B0-B95E-7710D31E7C2F}" dt="2021-03-10T01:42:26.552" v="1232" actId="20577"/>
          <ac:spMkLst>
            <pc:docMk/>
            <pc:sldMk cId="4181258107" sldId="4115"/>
            <ac:spMk id="2" creationId="{9F065AEE-6DA2-4734-BC8C-F528C1D187E7}"/>
          </ac:spMkLst>
        </pc:spChg>
        <pc:spChg chg="mod">
          <ac:chgData name="Michael Bailit" userId="6e5c4604-85bf-41ef-8e97-4724b7d56589" providerId="ADAL" clId="{11BB5495-0CDE-43B0-B95E-7710D31E7C2F}" dt="2021-03-10T01:50:02.321" v="1505" actId="20577"/>
          <ac:spMkLst>
            <pc:docMk/>
            <pc:sldMk cId="4181258107" sldId="4115"/>
            <ac:spMk id="3" creationId="{A4B18751-5999-4242-825E-F8EB2220B7A5}"/>
          </ac:spMkLst>
        </pc:spChg>
        <pc:spChg chg="add del">
          <ac:chgData name="Michael Bailit" userId="6e5c4604-85bf-41ef-8e97-4724b7d56589" providerId="ADAL" clId="{11BB5495-0CDE-43B0-B95E-7710D31E7C2F}" dt="2021-03-10T01:47:18.243" v="1257" actId="22"/>
          <ac:spMkLst>
            <pc:docMk/>
            <pc:sldMk cId="4181258107" sldId="4115"/>
            <ac:spMk id="5" creationId="{745DFC8A-E8C1-4864-9EFF-FBE60FF5A076}"/>
          </ac:spMkLst>
        </pc:spChg>
      </pc:sldChg>
      <pc:sldChg chg="add del">
        <pc:chgData name="Michael Bailit" userId="6e5c4604-85bf-41ef-8e97-4724b7d56589" providerId="ADAL" clId="{11BB5495-0CDE-43B0-B95E-7710D31E7C2F}" dt="2021-03-10T02:05:59.794" v="2444" actId="2696"/>
        <pc:sldMkLst>
          <pc:docMk/>
          <pc:sldMk cId="322977481" sldId="4116"/>
        </pc:sldMkLst>
      </pc:sldChg>
      <pc:sldChg chg="modSp add mod modAnim">
        <pc:chgData name="Michael Bailit" userId="6e5c4604-85bf-41ef-8e97-4724b7d56589" providerId="ADAL" clId="{11BB5495-0CDE-43B0-B95E-7710D31E7C2F}" dt="2021-03-10T02:07:26.147" v="2610" actId="255"/>
        <pc:sldMkLst>
          <pc:docMk/>
          <pc:sldMk cId="1112540428" sldId="4117"/>
        </pc:sldMkLst>
        <pc:spChg chg="mod">
          <ac:chgData name="Michael Bailit" userId="6e5c4604-85bf-41ef-8e97-4724b7d56589" providerId="ADAL" clId="{11BB5495-0CDE-43B0-B95E-7710D31E7C2F}" dt="2021-03-10T02:04:27.179" v="2263" actId="6549"/>
          <ac:spMkLst>
            <pc:docMk/>
            <pc:sldMk cId="1112540428" sldId="4117"/>
            <ac:spMk id="2" creationId="{69E4211F-0C01-4EC1-964E-9966E2523F23}"/>
          </ac:spMkLst>
        </pc:spChg>
        <pc:spChg chg="mod">
          <ac:chgData name="Michael Bailit" userId="6e5c4604-85bf-41ef-8e97-4724b7d56589" providerId="ADAL" clId="{11BB5495-0CDE-43B0-B95E-7710D31E7C2F}" dt="2021-03-10T02:07:26.147" v="2610" actId="255"/>
          <ac:spMkLst>
            <pc:docMk/>
            <pc:sldMk cId="1112540428" sldId="4117"/>
            <ac:spMk id="3" creationId="{1C31389C-7B7F-4C4D-AA2F-63843E0A80FF}"/>
          </ac:spMkLst>
        </pc:spChg>
      </pc:sldChg>
    </pc:docChg>
  </pc:docChgLst>
  <pc:docChgLst>
    <pc:chgData name="Justine Zayhowski" userId="2377d393-ab0f-4e66-8672-ed1beebcd407" providerId="ADAL" clId="{09ACE924-E4DA-4D29-8218-7C062EE57CC5}"/>
    <pc:docChg chg="undo custSel addSld delSld modSld sldOrd">
      <pc:chgData name="Justine Zayhowski" userId="2377d393-ab0f-4e66-8672-ed1beebcd407" providerId="ADAL" clId="{09ACE924-E4DA-4D29-8218-7C062EE57CC5}" dt="2021-03-17T16:48:50.510" v="18448" actId="20577"/>
      <pc:docMkLst>
        <pc:docMk/>
      </pc:docMkLst>
      <pc:sldChg chg="del">
        <pc:chgData name="Justine Zayhowski" userId="2377d393-ab0f-4e66-8672-ed1beebcd407" providerId="ADAL" clId="{09ACE924-E4DA-4D29-8218-7C062EE57CC5}" dt="2021-02-03T15:16:55.575" v="0" actId="47"/>
        <pc:sldMkLst>
          <pc:docMk/>
          <pc:sldMk cId="4234679703" sldId="257"/>
        </pc:sldMkLst>
      </pc:sldChg>
      <pc:sldChg chg="del">
        <pc:chgData name="Justine Zayhowski" userId="2377d393-ab0f-4e66-8672-ed1beebcd407" providerId="ADAL" clId="{09ACE924-E4DA-4D29-8218-7C062EE57CC5}" dt="2021-02-03T15:16:55.575" v="0" actId="47"/>
        <pc:sldMkLst>
          <pc:docMk/>
          <pc:sldMk cId="3231755332" sldId="262"/>
        </pc:sldMkLst>
      </pc:sldChg>
      <pc:sldChg chg="del">
        <pc:chgData name="Justine Zayhowski" userId="2377d393-ab0f-4e66-8672-ed1beebcd407" providerId="ADAL" clId="{09ACE924-E4DA-4D29-8218-7C062EE57CC5}" dt="2021-02-03T15:16:55.575" v="0" actId="47"/>
        <pc:sldMkLst>
          <pc:docMk/>
          <pc:sldMk cId="251744534" sldId="265"/>
        </pc:sldMkLst>
      </pc:sldChg>
      <pc:sldChg chg="del">
        <pc:chgData name="Justine Zayhowski" userId="2377d393-ab0f-4e66-8672-ed1beebcd407" providerId="ADAL" clId="{09ACE924-E4DA-4D29-8218-7C062EE57CC5}" dt="2021-02-03T15:16:55.575" v="0" actId="47"/>
        <pc:sldMkLst>
          <pc:docMk/>
          <pc:sldMk cId="3164169939" sldId="266"/>
        </pc:sldMkLst>
      </pc:sldChg>
      <pc:sldChg chg="del">
        <pc:chgData name="Justine Zayhowski" userId="2377d393-ab0f-4e66-8672-ed1beebcd407" providerId="ADAL" clId="{09ACE924-E4DA-4D29-8218-7C062EE57CC5}" dt="2021-02-03T15:16:55.575" v="0" actId="47"/>
        <pc:sldMkLst>
          <pc:docMk/>
          <pc:sldMk cId="2739722314" sldId="267"/>
        </pc:sldMkLst>
      </pc:sldChg>
      <pc:sldChg chg="del">
        <pc:chgData name="Justine Zayhowski" userId="2377d393-ab0f-4e66-8672-ed1beebcd407" providerId="ADAL" clId="{09ACE924-E4DA-4D29-8218-7C062EE57CC5}" dt="2021-02-03T15:16:55.575" v="0" actId="47"/>
        <pc:sldMkLst>
          <pc:docMk/>
          <pc:sldMk cId="4287636071" sldId="268"/>
        </pc:sldMkLst>
      </pc:sldChg>
      <pc:sldChg chg="del">
        <pc:chgData name="Justine Zayhowski" userId="2377d393-ab0f-4e66-8672-ed1beebcd407" providerId="ADAL" clId="{09ACE924-E4DA-4D29-8218-7C062EE57CC5}" dt="2021-02-03T15:16:55.575" v="0" actId="47"/>
        <pc:sldMkLst>
          <pc:docMk/>
          <pc:sldMk cId="3101585750" sldId="269"/>
        </pc:sldMkLst>
      </pc:sldChg>
      <pc:sldChg chg="addSp delSp modSp add del mod delCm">
        <pc:chgData name="Justine Zayhowski" userId="2377d393-ab0f-4e66-8672-ed1beebcd407" providerId="ADAL" clId="{09ACE924-E4DA-4D29-8218-7C062EE57CC5}" dt="2021-03-10T18:38:49.058" v="17452" actId="1592"/>
        <pc:sldMkLst>
          <pc:docMk/>
          <pc:sldMk cId="1210250860" sldId="483"/>
        </pc:sldMkLst>
        <pc:spChg chg="mod">
          <ac:chgData name="Justine Zayhowski" userId="2377d393-ab0f-4e66-8672-ed1beebcd407" providerId="ADAL" clId="{09ACE924-E4DA-4D29-8218-7C062EE57CC5}" dt="2021-02-19T17:28:15.116" v="8" actId="20577"/>
          <ac:spMkLst>
            <pc:docMk/>
            <pc:sldMk cId="1210250860" sldId="483"/>
            <ac:spMk id="3" creationId="{00000000-0000-0000-0000-000000000000}"/>
          </ac:spMkLst>
        </pc:spChg>
        <pc:spChg chg="add del mod">
          <ac:chgData name="Justine Zayhowski" userId="2377d393-ab0f-4e66-8672-ed1beebcd407" providerId="ADAL" clId="{09ACE924-E4DA-4D29-8218-7C062EE57CC5}" dt="2021-03-09T16:07:19.280" v="17451" actId="478"/>
          <ac:spMkLst>
            <pc:docMk/>
            <pc:sldMk cId="1210250860" sldId="483"/>
            <ac:spMk id="4" creationId="{CF154E32-7BB2-4BE5-B005-AC07ED90B6C2}"/>
          </ac:spMkLst>
        </pc:spChg>
        <pc:spChg chg="add del mod">
          <ac:chgData name="Justine Zayhowski" userId="2377d393-ab0f-4e66-8672-ed1beebcd407" providerId="ADAL" clId="{09ACE924-E4DA-4D29-8218-7C062EE57CC5}" dt="2021-03-02T19:19:08.579" v="2376" actId="478"/>
          <ac:spMkLst>
            <pc:docMk/>
            <pc:sldMk cId="1210250860" sldId="483"/>
            <ac:spMk id="5" creationId="{1EB5D6A6-DE8E-404C-8E84-C63EE6FC1E07}"/>
          </ac:spMkLst>
        </pc:spChg>
        <pc:spChg chg="add del mod">
          <ac:chgData name="Justine Zayhowski" userId="2377d393-ab0f-4e66-8672-ed1beebcd407" providerId="ADAL" clId="{09ACE924-E4DA-4D29-8218-7C062EE57CC5}" dt="2021-03-07T12:16:14.165" v="9904" actId="478"/>
          <ac:spMkLst>
            <pc:docMk/>
            <pc:sldMk cId="1210250860" sldId="483"/>
            <ac:spMk id="5" creationId="{7B720646-E30F-4C87-B6CB-078CB2711B18}"/>
          </ac:spMkLst>
        </pc:spChg>
      </pc:sldChg>
      <pc:sldChg chg="addSp delSp modSp add mod delCm">
        <pc:chgData name="Justine Zayhowski" userId="2377d393-ab0f-4e66-8672-ed1beebcd407" providerId="ADAL" clId="{09ACE924-E4DA-4D29-8218-7C062EE57CC5}" dt="2021-03-10T19:23:47.535" v="17992" actId="1592"/>
        <pc:sldMkLst>
          <pc:docMk/>
          <pc:sldMk cId="3828190562" sldId="1124"/>
        </pc:sldMkLst>
        <pc:spChg chg="mod">
          <ac:chgData name="Justine Zayhowski" userId="2377d393-ab0f-4e66-8672-ed1beebcd407" providerId="ADAL" clId="{09ACE924-E4DA-4D29-8218-7C062EE57CC5}" dt="2021-03-08T18:37:44.462" v="11563" actId="20577"/>
          <ac:spMkLst>
            <pc:docMk/>
            <pc:sldMk cId="3828190562" sldId="1124"/>
            <ac:spMk id="2" creationId="{2916BE21-0062-4893-834E-4364FA21EDBA}"/>
          </ac:spMkLst>
        </pc:spChg>
        <pc:spChg chg="mod">
          <ac:chgData name="Justine Zayhowski" userId="2377d393-ab0f-4e66-8672-ed1beebcd407" providerId="ADAL" clId="{09ACE924-E4DA-4D29-8218-7C062EE57CC5}" dt="2021-03-10T19:23:32.035" v="17991" actId="255"/>
          <ac:spMkLst>
            <pc:docMk/>
            <pc:sldMk cId="3828190562" sldId="1124"/>
            <ac:spMk id="3" creationId="{13958191-8EAF-4015-BB89-36C2A72A048F}"/>
          </ac:spMkLst>
        </pc:spChg>
        <pc:spChg chg="del">
          <ac:chgData name="Justine Zayhowski" userId="2377d393-ab0f-4e66-8672-ed1beebcd407" providerId="ADAL" clId="{09ACE924-E4DA-4D29-8218-7C062EE57CC5}" dt="2021-03-08T18:37:56.254" v="11573" actId="478"/>
          <ac:spMkLst>
            <pc:docMk/>
            <pc:sldMk cId="3828190562" sldId="1124"/>
            <ac:spMk id="5" creationId="{2305DBE9-7A99-4FA3-A664-C378F1661495}"/>
          </ac:spMkLst>
        </pc:spChg>
        <pc:spChg chg="add del mod">
          <ac:chgData name="Justine Zayhowski" userId="2377d393-ab0f-4e66-8672-ed1beebcd407" providerId="ADAL" clId="{09ACE924-E4DA-4D29-8218-7C062EE57CC5}" dt="2021-03-08T18:34:50.678" v="11383" actId="478"/>
          <ac:spMkLst>
            <pc:docMk/>
            <pc:sldMk cId="3828190562" sldId="1124"/>
            <ac:spMk id="6" creationId="{25B10E78-8165-4671-983F-05477D2DCE71}"/>
          </ac:spMkLst>
        </pc:spChg>
        <pc:graphicFrameChg chg="mod modGraphic">
          <ac:chgData name="Justine Zayhowski" userId="2377d393-ab0f-4e66-8672-ed1beebcd407" providerId="ADAL" clId="{09ACE924-E4DA-4D29-8218-7C062EE57CC5}" dt="2021-03-10T19:23:28.140" v="17990" actId="1035"/>
          <ac:graphicFrameMkLst>
            <pc:docMk/>
            <pc:sldMk cId="3828190562" sldId="1124"/>
            <ac:graphicFrameMk id="4" creationId="{1EFCD6C3-F3CB-4D49-AE47-B909A7812126}"/>
          </ac:graphicFrameMkLst>
        </pc:graphicFrameChg>
      </pc:sldChg>
      <pc:sldChg chg="addSp delSp modSp add del mod">
        <pc:chgData name="Justine Zayhowski" userId="2377d393-ab0f-4e66-8672-ed1beebcd407" providerId="ADAL" clId="{09ACE924-E4DA-4D29-8218-7C062EE57CC5}" dt="2021-03-08T14:40:50.588" v="9907" actId="20577"/>
        <pc:sldMkLst>
          <pc:docMk/>
          <pc:sldMk cId="3123438988" sldId="1429"/>
        </pc:sldMkLst>
        <pc:spChg chg="mod">
          <ac:chgData name="Justine Zayhowski" userId="2377d393-ab0f-4e66-8672-ed1beebcd407" providerId="ADAL" clId="{09ACE924-E4DA-4D29-8218-7C062EE57CC5}" dt="2021-03-08T14:40:50.588" v="9907" actId="20577"/>
          <ac:spMkLst>
            <pc:docMk/>
            <pc:sldMk cId="3123438988" sldId="1429"/>
            <ac:spMk id="3" creationId="{8E396B14-F9D7-4ACC-AED3-6E88E76396F5}"/>
          </ac:spMkLst>
        </pc:spChg>
        <pc:spChg chg="add del mod">
          <ac:chgData name="Justine Zayhowski" userId="2377d393-ab0f-4e66-8672-ed1beebcd407" providerId="ADAL" clId="{09ACE924-E4DA-4D29-8218-7C062EE57CC5}" dt="2021-03-04T14:20:47.843" v="3762" actId="21"/>
          <ac:spMkLst>
            <pc:docMk/>
            <pc:sldMk cId="3123438988" sldId="1429"/>
            <ac:spMk id="4" creationId="{B43C3BA0-97B2-4AC9-A29A-7E4DCE3AEF02}"/>
          </ac:spMkLst>
        </pc:spChg>
        <pc:spChg chg="add del mod">
          <ac:chgData name="Justine Zayhowski" userId="2377d393-ab0f-4e66-8672-ed1beebcd407" providerId="ADAL" clId="{09ACE924-E4DA-4D29-8218-7C062EE57CC5}" dt="2021-03-04T17:06:43.946" v="4979" actId="478"/>
          <ac:spMkLst>
            <pc:docMk/>
            <pc:sldMk cId="3123438988" sldId="1429"/>
            <ac:spMk id="6" creationId="{B40C9F03-9A82-47B8-B923-0A95FBA54BF1}"/>
          </ac:spMkLst>
        </pc:spChg>
      </pc:sldChg>
      <pc:sldChg chg="add del">
        <pc:chgData name="Justine Zayhowski" userId="2377d393-ab0f-4e66-8672-ed1beebcd407" providerId="ADAL" clId="{09ACE924-E4DA-4D29-8218-7C062EE57CC5}" dt="2021-03-07T11:47:46.801" v="9257"/>
        <pc:sldMkLst>
          <pc:docMk/>
          <pc:sldMk cId="3094210042" sldId="1434"/>
        </pc:sldMkLst>
      </pc:sldChg>
      <pc:sldChg chg="add del">
        <pc:chgData name="Justine Zayhowski" userId="2377d393-ab0f-4e66-8672-ed1beebcd407" providerId="ADAL" clId="{09ACE924-E4DA-4D29-8218-7C062EE57CC5}" dt="2021-03-07T11:47:40.546" v="9256"/>
        <pc:sldMkLst>
          <pc:docMk/>
          <pc:sldMk cId="66577696" sldId="1446"/>
        </pc:sldMkLst>
      </pc:sldChg>
      <pc:sldChg chg="add del">
        <pc:chgData name="Justine Zayhowski" userId="2377d393-ab0f-4e66-8672-ed1beebcd407" providerId="ADAL" clId="{09ACE924-E4DA-4D29-8218-7C062EE57CC5}" dt="2021-03-07T11:47:40.546" v="9256"/>
        <pc:sldMkLst>
          <pc:docMk/>
          <pc:sldMk cId="2762011142" sldId="1447"/>
        </pc:sldMkLst>
      </pc:sldChg>
      <pc:sldChg chg="add del">
        <pc:chgData name="Justine Zayhowski" userId="2377d393-ab0f-4e66-8672-ed1beebcd407" providerId="ADAL" clId="{09ACE924-E4DA-4D29-8218-7C062EE57CC5}" dt="2021-03-07T11:47:40.546" v="9256"/>
        <pc:sldMkLst>
          <pc:docMk/>
          <pc:sldMk cId="3029379399" sldId="1448"/>
        </pc:sldMkLst>
      </pc:sldChg>
      <pc:sldChg chg="modSp add mod ord">
        <pc:chgData name="Justine Zayhowski" userId="2377d393-ab0f-4e66-8672-ed1beebcd407" providerId="ADAL" clId="{09ACE924-E4DA-4D29-8218-7C062EE57CC5}" dt="2021-03-09T14:16:13.617" v="14676" actId="20577"/>
        <pc:sldMkLst>
          <pc:docMk/>
          <pc:sldMk cId="690201876" sldId="1492"/>
        </pc:sldMkLst>
        <pc:spChg chg="mod">
          <ac:chgData name="Justine Zayhowski" userId="2377d393-ab0f-4e66-8672-ed1beebcd407" providerId="ADAL" clId="{09ACE924-E4DA-4D29-8218-7C062EE57CC5}" dt="2021-03-09T13:34:52.131" v="13187" actId="14100"/>
          <ac:spMkLst>
            <pc:docMk/>
            <pc:sldMk cId="690201876" sldId="1492"/>
            <ac:spMk id="3" creationId="{FCCCFF26-59F7-4A2D-8CB3-7E88C7E180D4}"/>
          </ac:spMkLst>
        </pc:spChg>
        <pc:graphicFrameChg chg="mod modGraphic">
          <ac:chgData name="Justine Zayhowski" userId="2377d393-ab0f-4e66-8672-ed1beebcd407" providerId="ADAL" clId="{09ACE924-E4DA-4D29-8218-7C062EE57CC5}" dt="2021-03-09T14:16:13.617" v="14676" actId="20577"/>
          <ac:graphicFrameMkLst>
            <pc:docMk/>
            <pc:sldMk cId="690201876" sldId="1492"/>
            <ac:graphicFrameMk id="4" creationId="{2BF16781-B2A9-4BFA-A6A2-944B11AC9EC1}"/>
          </ac:graphicFrameMkLst>
        </pc:graphicFrameChg>
      </pc:sldChg>
      <pc:sldChg chg="modSp add del mod">
        <pc:chgData name="Justine Zayhowski" userId="2377d393-ab0f-4e66-8672-ed1beebcd407" providerId="ADAL" clId="{09ACE924-E4DA-4D29-8218-7C062EE57CC5}" dt="2021-03-08T18:21:17.334" v="10869" actId="47"/>
        <pc:sldMkLst>
          <pc:docMk/>
          <pc:sldMk cId="245000583" sldId="1495"/>
        </pc:sldMkLst>
        <pc:spChg chg="mod">
          <ac:chgData name="Justine Zayhowski" userId="2377d393-ab0f-4e66-8672-ed1beebcd407" providerId="ADAL" clId="{09ACE924-E4DA-4D29-8218-7C062EE57CC5}" dt="2021-03-08T18:20:39.600" v="10762" actId="21"/>
          <ac:spMkLst>
            <pc:docMk/>
            <pc:sldMk cId="245000583" sldId="1495"/>
            <ac:spMk id="3" creationId="{A1C527C8-BEEB-4F96-9450-E5AEDAF77F6C}"/>
          </ac:spMkLst>
        </pc:spChg>
      </pc:sldChg>
      <pc:sldChg chg="modSp add del mod modAnim delCm">
        <pc:chgData name="Justine Zayhowski" userId="2377d393-ab0f-4e66-8672-ed1beebcd407" providerId="ADAL" clId="{09ACE924-E4DA-4D29-8218-7C062EE57CC5}" dt="2021-03-10T21:09:18.321" v="18260" actId="47"/>
        <pc:sldMkLst>
          <pc:docMk/>
          <pc:sldMk cId="1958059492" sldId="1509"/>
        </pc:sldMkLst>
        <pc:spChg chg="mod">
          <ac:chgData name="Justine Zayhowski" userId="2377d393-ab0f-4e66-8672-ed1beebcd407" providerId="ADAL" clId="{09ACE924-E4DA-4D29-8218-7C062EE57CC5}" dt="2021-03-09T15:52:30.448" v="17447" actId="20577"/>
          <ac:spMkLst>
            <pc:docMk/>
            <pc:sldMk cId="1958059492" sldId="1509"/>
            <ac:spMk id="2" creationId="{E868C5EF-3C61-4F3D-8A77-7720B8D25001}"/>
          </ac:spMkLst>
        </pc:spChg>
        <pc:spChg chg="mod">
          <ac:chgData name="Justine Zayhowski" userId="2377d393-ab0f-4e66-8672-ed1beebcd407" providerId="ADAL" clId="{09ACE924-E4DA-4D29-8218-7C062EE57CC5}" dt="2021-03-10T19:17:33.611" v="17797" actId="20577"/>
          <ac:spMkLst>
            <pc:docMk/>
            <pc:sldMk cId="1958059492" sldId="1509"/>
            <ac:spMk id="3" creationId="{216BDBF3-AD75-48CD-AB7C-5D5CDB6E9F43}"/>
          </ac:spMkLst>
        </pc:spChg>
      </pc:sldChg>
      <pc:sldChg chg="modSp add del mod ord">
        <pc:chgData name="Justine Zayhowski" userId="2377d393-ab0f-4e66-8672-ed1beebcd407" providerId="ADAL" clId="{09ACE924-E4DA-4D29-8218-7C062EE57CC5}" dt="2021-03-10T21:09:18.321" v="18260" actId="47"/>
        <pc:sldMkLst>
          <pc:docMk/>
          <pc:sldMk cId="3336706788" sldId="1511"/>
        </pc:sldMkLst>
        <pc:spChg chg="mod">
          <ac:chgData name="Justine Zayhowski" userId="2377d393-ab0f-4e66-8672-ed1beebcd407" providerId="ADAL" clId="{09ACE924-E4DA-4D29-8218-7C062EE57CC5}" dt="2021-03-08T18:23:22.063" v="11129" actId="20577"/>
          <ac:spMkLst>
            <pc:docMk/>
            <pc:sldMk cId="3336706788" sldId="1511"/>
            <ac:spMk id="2" creationId="{E3BA0A91-8B41-48FE-A4A4-CA9D55288692}"/>
          </ac:spMkLst>
        </pc:spChg>
        <pc:graphicFrameChg chg="mod modGraphic">
          <ac:chgData name="Justine Zayhowski" userId="2377d393-ab0f-4e66-8672-ed1beebcd407" providerId="ADAL" clId="{09ACE924-E4DA-4D29-8218-7C062EE57CC5}" dt="2021-03-09T13:47:04.531" v="13797"/>
          <ac:graphicFrameMkLst>
            <pc:docMk/>
            <pc:sldMk cId="3336706788" sldId="1511"/>
            <ac:graphicFrameMk id="7" creationId="{5D50B392-E111-4064-B983-4DDEC2E31632}"/>
          </ac:graphicFrameMkLst>
        </pc:graphicFrameChg>
      </pc:sldChg>
      <pc:sldChg chg="modSp add del mod">
        <pc:chgData name="Justine Zayhowski" userId="2377d393-ab0f-4e66-8672-ed1beebcd407" providerId="ADAL" clId="{09ACE924-E4DA-4D29-8218-7C062EE57CC5}" dt="2021-03-10T21:09:18.321" v="18260" actId="47"/>
        <pc:sldMkLst>
          <pc:docMk/>
          <pc:sldMk cId="1884594512" sldId="1517"/>
        </pc:sldMkLst>
        <pc:spChg chg="mod">
          <ac:chgData name="Justine Zayhowski" userId="2377d393-ab0f-4e66-8672-ed1beebcd407" providerId="ADAL" clId="{09ACE924-E4DA-4D29-8218-7C062EE57CC5}" dt="2021-03-09T15:39:33.305" v="16406" actId="20577"/>
          <ac:spMkLst>
            <pc:docMk/>
            <pc:sldMk cId="1884594512" sldId="1517"/>
            <ac:spMk id="2" creationId="{F3A4FC48-4A7C-4002-A3F4-A2B0BE377676}"/>
          </ac:spMkLst>
        </pc:spChg>
      </pc:sldChg>
      <pc:sldChg chg="modSp add del mod delCm">
        <pc:chgData name="Justine Zayhowski" userId="2377d393-ab0f-4e66-8672-ed1beebcd407" providerId="ADAL" clId="{09ACE924-E4DA-4D29-8218-7C062EE57CC5}" dt="2021-03-10T21:09:18.321" v="18260" actId="47"/>
        <pc:sldMkLst>
          <pc:docMk/>
          <pc:sldMk cId="3724312080" sldId="1520"/>
        </pc:sldMkLst>
        <pc:spChg chg="mod">
          <ac:chgData name="Justine Zayhowski" userId="2377d393-ab0f-4e66-8672-ed1beebcd407" providerId="ADAL" clId="{09ACE924-E4DA-4D29-8218-7C062EE57CC5}" dt="2021-03-09T15:39:19.897" v="16396" actId="20577"/>
          <ac:spMkLst>
            <pc:docMk/>
            <pc:sldMk cId="3724312080" sldId="1520"/>
            <ac:spMk id="2" creationId="{E868C5EF-3C61-4F3D-8A77-7720B8D25001}"/>
          </ac:spMkLst>
        </pc:spChg>
      </pc:sldChg>
      <pc:sldChg chg="modSp add del mod ord">
        <pc:chgData name="Justine Zayhowski" userId="2377d393-ab0f-4e66-8672-ed1beebcd407" providerId="ADAL" clId="{09ACE924-E4DA-4D29-8218-7C062EE57CC5}" dt="2021-03-08T18:23:38.791" v="11143" actId="47"/>
        <pc:sldMkLst>
          <pc:docMk/>
          <pc:sldMk cId="1236526088" sldId="1524"/>
        </pc:sldMkLst>
        <pc:graphicFrameChg chg="modGraphic">
          <ac:chgData name="Justine Zayhowski" userId="2377d393-ab0f-4e66-8672-ed1beebcd407" providerId="ADAL" clId="{09ACE924-E4DA-4D29-8218-7C062EE57CC5}" dt="2021-03-08T18:22:50.959" v="11068" actId="20577"/>
          <ac:graphicFrameMkLst>
            <pc:docMk/>
            <pc:sldMk cId="1236526088" sldId="1524"/>
            <ac:graphicFrameMk id="7" creationId="{5D50B392-E111-4064-B983-4DDEC2E31632}"/>
          </ac:graphicFrameMkLst>
        </pc:graphicFrameChg>
      </pc:sldChg>
      <pc:sldChg chg="del">
        <pc:chgData name="Justine Zayhowski" userId="2377d393-ab0f-4e66-8672-ed1beebcd407" providerId="ADAL" clId="{09ACE924-E4DA-4D29-8218-7C062EE57CC5}" dt="2021-02-03T15:17:00.031" v="1" actId="47"/>
        <pc:sldMkLst>
          <pc:docMk/>
          <pc:sldMk cId="4034419199" sldId="1540"/>
        </pc:sldMkLst>
      </pc:sldChg>
      <pc:sldChg chg="del">
        <pc:chgData name="Justine Zayhowski" userId="2377d393-ab0f-4e66-8672-ed1beebcd407" providerId="ADAL" clId="{09ACE924-E4DA-4D29-8218-7C062EE57CC5}" dt="2021-02-03T15:17:00.031" v="1" actId="47"/>
        <pc:sldMkLst>
          <pc:docMk/>
          <pc:sldMk cId="4294662965" sldId="1541"/>
        </pc:sldMkLst>
      </pc:sldChg>
      <pc:sldChg chg="del">
        <pc:chgData name="Justine Zayhowski" userId="2377d393-ab0f-4e66-8672-ed1beebcd407" providerId="ADAL" clId="{09ACE924-E4DA-4D29-8218-7C062EE57CC5}" dt="2021-02-03T15:17:00.031" v="1" actId="47"/>
        <pc:sldMkLst>
          <pc:docMk/>
          <pc:sldMk cId="2827253852" sldId="1542"/>
        </pc:sldMkLst>
      </pc:sldChg>
      <pc:sldChg chg="del">
        <pc:chgData name="Justine Zayhowski" userId="2377d393-ab0f-4e66-8672-ed1beebcd407" providerId="ADAL" clId="{09ACE924-E4DA-4D29-8218-7C062EE57CC5}" dt="2021-02-03T15:17:00.031" v="1" actId="47"/>
        <pc:sldMkLst>
          <pc:docMk/>
          <pc:sldMk cId="91523219" sldId="1543"/>
        </pc:sldMkLst>
      </pc:sldChg>
      <pc:sldChg chg="del">
        <pc:chgData name="Justine Zayhowski" userId="2377d393-ab0f-4e66-8672-ed1beebcd407" providerId="ADAL" clId="{09ACE924-E4DA-4D29-8218-7C062EE57CC5}" dt="2021-02-03T15:17:00.031" v="1" actId="47"/>
        <pc:sldMkLst>
          <pc:docMk/>
          <pc:sldMk cId="3173968709" sldId="1545"/>
        </pc:sldMkLst>
      </pc:sldChg>
      <pc:sldChg chg="del">
        <pc:chgData name="Justine Zayhowski" userId="2377d393-ab0f-4e66-8672-ed1beebcd407" providerId="ADAL" clId="{09ACE924-E4DA-4D29-8218-7C062EE57CC5}" dt="2021-02-03T15:17:00.031" v="1" actId="47"/>
        <pc:sldMkLst>
          <pc:docMk/>
          <pc:sldMk cId="200381774" sldId="1546"/>
        </pc:sldMkLst>
      </pc:sldChg>
      <pc:sldChg chg="del">
        <pc:chgData name="Justine Zayhowski" userId="2377d393-ab0f-4e66-8672-ed1beebcd407" providerId="ADAL" clId="{09ACE924-E4DA-4D29-8218-7C062EE57CC5}" dt="2021-02-03T15:17:00.031" v="1" actId="47"/>
        <pc:sldMkLst>
          <pc:docMk/>
          <pc:sldMk cId="2471568903" sldId="1547"/>
        </pc:sldMkLst>
      </pc:sldChg>
      <pc:sldChg chg="del">
        <pc:chgData name="Justine Zayhowski" userId="2377d393-ab0f-4e66-8672-ed1beebcd407" providerId="ADAL" clId="{09ACE924-E4DA-4D29-8218-7C062EE57CC5}" dt="2021-02-03T15:17:00.031" v="1" actId="47"/>
        <pc:sldMkLst>
          <pc:docMk/>
          <pc:sldMk cId="1451882486" sldId="1548"/>
        </pc:sldMkLst>
      </pc:sldChg>
      <pc:sldChg chg="del">
        <pc:chgData name="Justine Zayhowski" userId="2377d393-ab0f-4e66-8672-ed1beebcd407" providerId="ADAL" clId="{09ACE924-E4DA-4D29-8218-7C062EE57CC5}" dt="2021-02-03T15:17:00.031" v="1" actId="47"/>
        <pc:sldMkLst>
          <pc:docMk/>
          <pc:sldMk cId="2986110700" sldId="1549"/>
        </pc:sldMkLst>
      </pc:sldChg>
      <pc:sldChg chg="del">
        <pc:chgData name="Justine Zayhowski" userId="2377d393-ab0f-4e66-8672-ed1beebcd407" providerId="ADAL" clId="{09ACE924-E4DA-4D29-8218-7C062EE57CC5}" dt="2021-02-03T15:17:00.031" v="1" actId="47"/>
        <pc:sldMkLst>
          <pc:docMk/>
          <pc:sldMk cId="4196504506" sldId="1550"/>
        </pc:sldMkLst>
      </pc:sldChg>
      <pc:sldChg chg="del">
        <pc:chgData name="Justine Zayhowski" userId="2377d393-ab0f-4e66-8672-ed1beebcd407" providerId="ADAL" clId="{09ACE924-E4DA-4D29-8218-7C062EE57CC5}" dt="2021-02-03T15:17:00.031" v="1" actId="47"/>
        <pc:sldMkLst>
          <pc:docMk/>
          <pc:sldMk cId="603129740" sldId="1551"/>
        </pc:sldMkLst>
      </pc:sldChg>
      <pc:sldChg chg="del">
        <pc:chgData name="Justine Zayhowski" userId="2377d393-ab0f-4e66-8672-ed1beebcd407" providerId="ADAL" clId="{09ACE924-E4DA-4D29-8218-7C062EE57CC5}" dt="2021-02-03T15:17:00.031" v="1" actId="47"/>
        <pc:sldMkLst>
          <pc:docMk/>
          <pc:sldMk cId="3591097128" sldId="1552"/>
        </pc:sldMkLst>
      </pc:sldChg>
      <pc:sldChg chg="del">
        <pc:chgData name="Justine Zayhowski" userId="2377d393-ab0f-4e66-8672-ed1beebcd407" providerId="ADAL" clId="{09ACE924-E4DA-4D29-8218-7C062EE57CC5}" dt="2021-02-03T15:17:00.031" v="1" actId="47"/>
        <pc:sldMkLst>
          <pc:docMk/>
          <pc:sldMk cId="2001774138" sldId="1553"/>
        </pc:sldMkLst>
      </pc:sldChg>
      <pc:sldChg chg="del">
        <pc:chgData name="Justine Zayhowski" userId="2377d393-ab0f-4e66-8672-ed1beebcd407" providerId="ADAL" clId="{09ACE924-E4DA-4D29-8218-7C062EE57CC5}" dt="2021-02-03T15:17:00.031" v="1" actId="47"/>
        <pc:sldMkLst>
          <pc:docMk/>
          <pc:sldMk cId="624541904" sldId="1554"/>
        </pc:sldMkLst>
      </pc:sldChg>
      <pc:sldChg chg="del">
        <pc:chgData name="Justine Zayhowski" userId="2377d393-ab0f-4e66-8672-ed1beebcd407" providerId="ADAL" clId="{09ACE924-E4DA-4D29-8218-7C062EE57CC5}" dt="2021-02-03T15:17:00.031" v="1" actId="47"/>
        <pc:sldMkLst>
          <pc:docMk/>
          <pc:sldMk cId="638657131" sldId="1555"/>
        </pc:sldMkLst>
      </pc:sldChg>
      <pc:sldChg chg="del">
        <pc:chgData name="Justine Zayhowski" userId="2377d393-ab0f-4e66-8672-ed1beebcd407" providerId="ADAL" clId="{09ACE924-E4DA-4D29-8218-7C062EE57CC5}" dt="2021-02-03T15:17:00.031" v="1" actId="47"/>
        <pc:sldMkLst>
          <pc:docMk/>
          <pc:sldMk cId="1604107411" sldId="1556"/>
        </pc:sldMkLst>
      </pc:sldChg>
      <pc:sldChg chg="del">
        <pc:chgData name="Justine Zayhowski" userId="2377d393-ab0f-4e66-8672-ed1beebcd407" providerId="ADAL" clId="{09ACE924-E4DA-4D29-8218-7C062EE57CC5}" dt="2021-02-03T15:17:00.031" v="1" actId="47"/>
        <pc:sldMkLst>
          <pc:docMk/>
          <pc:sldMk cId="1559749281" sldId="1557"/>
        </pc:sldMkLst>
      </pc:sldChg>
      <pc:sldChg chg="del">
        <pc:chgData name="Justine Zayhowski" userId="2377d393-ab0f-4e66-8672-ed1beebcd407" providerId="ADAL" clId="{09ACE924-E4DA-4D29-8218-7C062EE57CC5}" dt="2021-02-03T15:17:00.031" v="1" actId="47"/>
        <pc:sldMkLst>
          <pc:docMk/>
          <pc:sldMk cId="3734404091" sldId="1558"/>
        </pc:sldMkLst>
      </pc:sldChg>
      <pc:sldChg chg="del">
        <pc:chgData name="Justine Zayhowski" userId="2377d393-ab0f-4e66-8672-ed1beebcd407" providerId="ADAL" clId="{09ACE924-E4DA-4D29-8218-7C062EE57CC5}" dt="2021-02-03T15:17:00.031" v="1" actId="47"/>
        <pc:sldMkLst>
          <pc:docMk/>
          <pc:sldMk cId="3458141779" sldId="1559"/>
        </pc:sldMkLst>
      </pc:sldChg>
      <pc:sldChg chg="del">
        <pc:chgData name="Justine Zayhowski" userId="2377d393-ab0f-4e66-8672-ed1beebcd407" providerId="ADAL" clId="{09ACE924-E4DA-4D29-8218-7C062EE57CC5}" dt="2021-02-03T15:17:00.031" v="1" actId="47"/>
        <pc:sldMkLst>
          <pc:docMk/>
          <pc:sldMk cId="1029816514" sldId="1560"/>
        </pc:sldMkLst>
      </pc:sldChg>
      <pc:sldChg chg="del">
        <pc:chgData name="Justine Zayhowski" userId="2377d393-ab0f-4e66-8672-ed1beebcd407" providerId="ADAL" clId="{09ACE924-E4DA-4D29-8218-7C062EE57CC5}" dt="2021-02-03T15:17:00.031" v="1" actId="47"/>
        <pc:sldMkLst>
          <pc:docMk/>
          <pc:sldMk cId="3898553200" sldId="1561"/>
        </pc:sldMkLst>
      </pc:sldChg>
      <pc:sldChg chg="del">
        <pc:chgData name="Justine Zayhowski" userId="2377d393-ab0f-4e66-8672-ed1beebcd407" providerId="ADAL" clId="{09ACE924-E4DA-4D29-8218-7C062EE57CC5}" dt="2021-02-03T15:17:00.031" v="1" actId="47"/>
        <pc:sldMkLst>
          <pc:docMk/>
          <pc:sldMk cId="827770974" sldId="1562"/>
        </pc:sldMkLst>
      </pc:sldChg>
      <pc:sldChg chg="del">
        <pc:chgData name="Justine Zayhowski" userId="2377d393-ab0f-4e66-8672-ed1beebcd407" providerId="ADAL" clId="{09ACE924-E4DA-4D29-8218-7C062EE57CC5}" dt="2021-02-03T15:17:00.031" v="1" actId="47"/>
        <pc:sldMkLst>
          <pc:docMk/>
          <pc:sldMk cId="1694219525" sldId="1563"/>
        </pc:sldMkLst>
      </pc:sldChg>
      <pc:sldChg chg="del">
        <pc:chgData name="Justine Zayhowski" userId="2377d393-ab0f-4e66-8672-ed1beebcd407" providerId="ADAL" clId="{09ACE924-E4DA-4D29-8218-7C062EE57CC5}" dt="2021-02-03T15:17:00.031" v="1" actId="47"/>
        <pc:sldMkLst>
          <pc:docMk/>
          <pc:sldMk cId="4083851932" sldId="1564"/>
        </pc:sldMkLst>
      </pc:sldChg>
      <pc:sldChg chg="modSp add mod ord">
        <pc:chgData name="Justine Zayhowski" userId="2377d393-ab0f-4e66-8672-ed1beebcd407" providerId="ADAL" clId="{09ACE924-E4DA-4D29-8218-7C062EE57CC5}" dt="2021-03-17T16:45:09.896" v="18447"/>
        <pc:sldMkLst>
          <pc:docMk/>
          <pc:sldMk cId="2718904717" sldId="1565"/>
        </pc:sldMkLst>
        <pc:spChg chg="mod">
          <ac:chgData name="Justine Zayhowski" userId="2377d393-ab0f-4e66-8672-ed1beebcd407" providerId="ADAL" clId="{09ACE924-E4DA-4D29-8218-7C062EE57CC5}" dt="2021-03-04T17:05:23.056" v="4614" actId="20577"/>
          <ac:spMkLst>
            <pc:docMk/>
            <pc:sldMk cId="2718904717" sldId="1565"/>
            <ac:spMk id="2" creationId="{E08AA6FB-E19D-4112-8C5B-2F069C7E9193}"/>
          </ac:spMkLst>
        </pc:spChg>
        <pc:spChg chg="mod">
          <ac:chgData name="Justine Zayhowski" userId="2377d393-ab0f-4e66-8672-ed1beebcd407" providerId="ADAL" clId="{09ACE924-E4DA-4D29-8218-7C062EE57CC5}" dt="2021-03-17T16:45:09.896" v="18447"/>
          <ac:spMkLst>
            <pc:docMk/>
            <pc:sldMk cId="2718904717" sldId="1565"/>
            <ac:spMk id="3" creationId="{D4A8534B-B70C-4A4F-900E-3C9058F5AD18}"/>
          </ac:spMkLst>
        </pc:spChg>
      </pc:sldChg>
      <pc:sldChg chg="addSp delSp modSp mod">
        <pc:chgData name="Justine Zayhowski" userId="2377d393-ab0f-4e66-8672-ed1beebcd407" providerId="ADAL" clId="{09ACE924-E4DA-4D29-8218-7C062EE57CC5}" dt="2021-03-10T19:25:03.185" v="18097" actId="20577"/>
        <pc:sldMkLst>
          <pc:docMk/>
          <pc:sldMk cId="2907942846" sldId="1569"/>
        </pc:sldMkLst>
        <pc:spChg chg="mod">
          <ac:chgData name="Justine Zayhowski" userId="2377d393-ab0f-4e66-8672-ed1beebcd407" providerId="ADAL" clId="{09ACE924-E4DA-4D29-8218-7C062EE57CC5}" dt="2021-03-09T14:02:23.598" v="14415" actId="20577"/>
          <ac:spMkLst>
            <pc:docMk/>
            <pc:sldMk cId="2907942846" sldId="1569"/>
            <ac:spMk id="2" creationId="{C7BE9799-74B3-46B4-A117-6B29C5CE37FD}"/>
          </ac:spMkLst>
        </pc:spChg>
        <pc:spChg chg="mod">
          <ac:chgData name="Justine Zayhowski" userId="2377d393-ab0f-4e66-8672-ed1beebcd407" providerId="ADAL" clId="{09ACE924-E4DA-4D29-8218-7C062EE57CC5}" dt="2021-03-10T19:25:03.185" v="18097" actId="20577"/>
          <ac:spMkLst>
            <pc:docMk/>
            <pc:sldMk cId="2907942846" sldId="1569"/>
            <ac:spMk id="3" creationId="{0DA78782-B9BC-47ED-86E9-0393125BC5EE}"/>
          </ac:spMkLst>
        </pc:spChg>
        <pc:spChg chg="add del mod">
          <ac:chgData name="Justine Zayhowski" userId="2377d393-ab0f-4e66-8672-ed1beebcd407" providerId="ADAL" clId="{09ACE924-E4DA-4D29-8218-7C062EE57CC5}" dt="2021-03-10T19:24:55.392" v="18070" actId="478"/>
          <ac:spMkLst>
            <pc:docMk/>
            <pc:sldMk cId="2907942846" sldId="1569"/>
            <ac:spMk id="5" creationId="{13B8357F-3D81-4D31-A46E-92500184776F}"/>
          </ac:spMkLst>
        </pc:spChg>
        <pc:graphicFrameChg chg="mod modGraphic">
          <ac:chgData name="Justine Zayhowski" userId="2377d393-ab0f-4e66-8672-ed1beebcd407" providerId="ADAL" clId="{09ACE924-E4DA-4D29-8218-7C062EE57CC5}" dt="2021-03-10T19:24:59.236" v="18089" actId="1036"/>
          <ac:graphicFrameMkLst>
            <pc:docMk/>
            <pc:sldMk cId="2907942846" sldId="1569"/>
            <ac:graphicFrameMk id="4" creationId="{C0FF9058-F080-4048-BC3C-7471FCA612D2}"/>
          </ac:graphicFrameMkLst>
        </pc:graphicFrameChg>
      </pc:sldChg>
      <pc:sldChg chg="delSp modSp del mod">
        <pc:chgData name="Justine Zayhowski" userId="2377d393-ab0f-4e66-8672-ed1beebcd407" providerId="ADAL" clId="{09ACE924-E4DA-4D29-8218-7C062EE57CC5}" dt="2021-03-10T19:26:27.421" v="18098" actId="47"/>
        <pc:sldMkLst>
          <pc:docMk/>
          <pc:sldMk cId="1852964533" sldId="1570"/>
        </pc:sldMkLst>
        <pc:spChg chg="mod">
          <ac:chgData name="Justine Zayhowski" userId="2377d393-ab0f-4e66-8672-ed1beebcd407" providerId="ADAL" clId="{09ACE924-E4DA-4D29-8218-7C062EE57CC5}" dt="2021-03-09T14:00:47.378" v="14373" actId="20577"/>
          <ac:spMkLst>
            <pc:docMk/>
            <pc:sldMk cId="1852964533" sldId="1570"/>
            <ac:spMk id="2" creationId="{B573303F-1B86-4518-BEB9-07C66D06BE3B}"/>
          </ac:spMkLst>
        </pc:spChg>
        <pc:spChg chg="mod">
          <ac:chgData name="Justine Zayhowski" userId="2377d393-ab0f-4e66-8672-ed1beebcd407" providerId="ADAL" clId="{09ACE924-E4DA-4D29-8218-7C062EE57CC5}" dt="2021-03-09T14:00:53.782" v="14377" actId="113"/>
          <ac:spMkLst>
            <pc:docMk/>
            <pc:sldMk cId="1852964533" sldId="1570"/>
            <ac:spMk id="3" creationId="{07A86647-C74D-45BA-82FF-081B7E42D6C0}"/>
          </ac:spMkLst>
        </pc:spChg>
        <pc:spChg chg="mod">
          <ac:chgData name="Justine Zayhowski" userId="2377d393-ab0f-4e66-8672-ed1beebcd407" providerId="ADAL" clId="{09ACE924-E4DA-4D29-8218-7C062EE57CC5}" dt="2021-03-09T14:00:52.631" v="14376" actId="1076"/>
          <ac:spMkLst>
            <pc:docMk/>
            <pc:sldMk cId="1852964533" sldId="1570"/>
            <ac:spMk id="5" creationId="{E0DF4D3F-82F1-4E35-9A92-932B94B7C3B5}"/>
          </ac:spMkLst>
        </pc:spChg>
        <pc:graphicFrameChg chg="del">
          <ac:chgData name="Justine Zayhowski" userId="2377d393-ab0f-4e66-8672-ed1beebcd407" providerId="ADAL" clId="{09ACE924-E4DA-4D29-8218-7C062EE57CC5}" dt="2021-03-09T13:56:56.816" v="14085" actId="478"/>
          <ac:graphicFrameMkLst>
            <pc:docMk/>
            <pc:sldMk cId="1852964533" sldId="1570"/>
            <ac:graphicFrameMk id="4" creationId="{1CE59CEB-DB73-4E26-89E1-47679AF0A56C}"/>
          </ac:graphicFrameMkLst>
        </pc:graphicFrameChg>
      </pc:sldChg>
      <pc:sldChg chg="del">
        <pc:chgData name="Justine Zayhowski" userId="2377d393-ab0f-4e66-8672-ed1beebcd407" providerId="ADAL" clId="{09ACE924-E4DA-4D29-8218-7C062EE57CC5}" dt="2021-02-03T15:16:55.575" v="0" actId="47"/>
        <pc:sldMkLst>
          <pc:docMk/>
          <pc:sldMk cId="2593316172" sldId="1574"/>
        </pc:sldMkLst>
      </pc:sldChg>
      <pc:sldChg chg="del">
        <pc:chgData name="Justine Zayhowski" userId="2377d393-ab0f-4e66-8672-ed1beebcd407" providerId="ADAL" clId="{09ACE924-E4DA-4D29-8218-7C062EE57CC5}" dt="2021-02-03T15:16:55.575" v="0" actId="47"/>
        <pc:sldMkLst>
          <pc:docMk/>
          <pc:sldMk cId="1094721067" sldId="3746"/>
        </pc:sldMkLst>
      </pc:sldChg>
      <pc:sldChg chg="del">
        <pc:chgData name="Justine Zayhowski" userId="2377d393-ab0f-4e66-8672-ed1beebcd407" providerId="ADAL" clId="{09ACE924-E4DA-4D29-8218-7C062EE57CC5}" dt="2021-02-03T15:16:55.575" v="0" actId="47"/>
        <pc:sldMkLst>
          <pc:docMk/>
          <pc:sldMk cId="1201535540" sldId="3787"/>
        </pc:sldMkLst>
      </pc:sldChg>
      <pc:sldChg chg="del">
        <pc:chgData name="Justine Zayhowski" userId="2377d393-ab0f-4e66-8672-ed1beebcd407" providerId="ADAL" clId="{09ACE924-E4DA-4D29-8218-7C062EE57CC5}" dt="2021-02-03T15:16:55.575" v="0" actId="47"/>
        <pc:sldMkLst>
          <pc:docMk/>
          <pc:sldMk cId="3390457210" sldId="3999"/>
        </pc:sldMkLst>
      </pc:sldChg>
      <pc:sldChg chg="del">
        <pc:chgData name="Justine Zayhowski" userId="2377d393-ab0f-4e66-8672-ed1beebcd407" providerId="ADAL" clId="{09ACE924-E4DA-4D29-8218-7C062EE57CC5}" dt="2021-02-03T15:16:55.575" v="0" actId="47"/>
        <pc:sldMkLst>
          <pc:docMk/>
          <pc:sldMk cId="2637751457" sldId="4001"/>
        </pc:sldMkLst>
      </pc:sldChg>
      <pc:sldChg chg="del">
        <pc:chgData name="Justine Zayhowski" userId="2377d393-ab0f-4e66-8672-ed1beebcd407" providerId="ADAL" clId="{09ACE924-E4DA-4D29-8218-7C062EE57CC5}" dt="2021-02-03T15:16:55.575" v="0" actId="47"/>
        <pc:sldMkLst>
          <pc:docMk/>
          <pc:sldMk cId="2003085332" sldId="4002"/>
        </pc:sldMkLst>
      </pc:sldChg>
      <pc:sldChg chg="del">
        <pc:chgData name="Justine Zayhowski" userId="2377d393-ab0f-4e66-8672-ed1beebcd407" providerId="ADAL" clId="{09ACE924-E4DA-4D29-8218-7C062EE57CC5}" dt="2021-02-03T15:16:55.575" v="0" actId="47"/>
        <pc:sldMkLst>
          <pc:docMk/>
          <pc:sldMk cId="830206411" sldId="4028"/>
        </pc:sldMkLst>
      </pc:sldChg>
      <pc:sldChg chg="del">
        <pc:chgData name="Justine Zayhowski" userId="2377d393-ab0f-4e66-8672-ed1beebcd407" providerId="ADAL" clId="{09ACE924-E4DA-4D29-8218-7C062EE57CC5}" dt="2021-02-03T15:16:55.575" v="0" actId="47"/>
        <pc:sldMkLst>
          <pc:docMk/>
          <pc:sldMk cId="3823003786" sldId="4031"/>
        </pc:sldMkLst>
      </pc:sldChg>
      <pc:sldChg chg="del">
        <pc:chgData name="Justine Zayhowski" userId="2377d393-ab0f-4e66-8672-ed1beebcd407" providerId="ADAL" clId="{09ACE924-E4DA-4D29-8218-7C062EE57CC5}" dt="2021-02-03T15:16:55.575" v="0" actId="47"/>
        <pc:sldMkLst>
          <pc:docMk/>
          <pc:sldMk cId="1697296994" sldId="4032"/>
        </pc:sldMkLst>
      </pc:sldChg>
      <pc:sldChg chg="del">
        <pc:chgData name="Justine Zayhowski" userId="2377d393-ab0f-4e66-8672-ed1beebcd407" providerId="ADAL" clId="{09ACE924-E4DA-4D29-8218-7C062EE57CC5}" dt="2021-02-03T15:16:55.575" v="0" actId="47"/>
        <pc:sldMkLst>
          <pc:docMk/>
          <pc:sldMk cId="2634012718" sldId="4038"/>
        </pc:sldMkLst>
      </pc:sldChg>
      <pc:sldChg chg="del">
        <pc:chgData name="Justine Zayhowski" userId="2377d393-ab0f-4e66-8672-ed1beebcd407" providerId="ADAL" clId="{09ACE924-E4DA-4D29-8218-7C062EE57CC5}" dt="2021-02-03T15:16:55.575" v="0" actId="47"/>
        <pc:sldMkLst>
          <pc:docMk/>
          <pc:sldMk cId="4132452934" sldId="4041"/>
        </pc:sldMkLst>
      </pc:sldChg>
      <pc:sldChg chg="del">
        <pc:chgData name="Justine Zayhowski" userId="2377d393-ab0f-4e66-8672-ed1beebcd407" providerId="ADAL" clId="{09ACE924-E4DA-4D29-8218-7C062EE57CC5}" dt="2021-02-03T15:16:55.575" v="0" actId="47"/>
        <pc:sldMkLst>
          <pc:docMk/>
          <pc:sldMk cId="3372783944" sldId="4042"/>
        </pc:sldMkLst>
      </pc:sldChg>
      <pc:sldChg chg="del">
        <pc:chgData name="Justine Zayhowski" userId="2377d393-ab0f-4e66-8672-ed1beebcd407" providerId="ADAL" clId="{09ACE924-E4DA-4D29-8218-7C062EE57CC5}" dt="2021-02-03T15:17:00.031" v="1" actId="47"/>
        <pc:sldMkLst>
          <pc:docMk/>
          <pc:sldMk cId="926121812" sldId="4044"/>
        </pc:sldMkLst>
      </pc:sldChg>
      <pc:sldChg chg="del">
        <pc:chgData name="Justine Zayhowski" userId="2377d393-ab0f-4e66-8672-ed1beebcd407" providerId="ADAL" clId="{09ACE924-E4DA-4D29-8218-7C062EE57CC5}" dt="2021-02-03T15:17:00.031" v="1" actId="47"/>
        <pc:sldMkLst>
          <pc:docMk/>
          <pc:sldMk cId="2196849094" sldId="4045"/>
        </pc:sldMkLst>
      </pc:sldChg>
      <pc:sldChg chg="del">
        <pc:chgData name="Justine Zayhowski" userId="2377d393-ab0f-4e66-8672-ed1beebcd407" providerId="ADAL" clId="{09ACE924-E4DA-4D29-8218-7C062EE57CC5}" dt="2021-02-03T15:17:00.031" v="1" actId="47"/>
        <pc:sldMkLst>
          <pc:docMk/>
          <pc:sldMk cId="3320250264" sldId="4046"/>
        </pc:sldMkLst>
      </pc:sldChg>
      <pc:sldChg chg="del">
        <pc:chgData name="Justine Zayhowski" userId="2377d393-ab0f-4e66-8672-ed1beebcd407" providerId="ADAL" clId="{09ACE924-E4DA-4D29-8218-7C062EE57CC5}" dt="2021-02-03T15:17:00.031" v="1" actId="47"/>
        <pc:sldMkLst>
          <pc:docMk/>
          <pc:sldMk cId="1552984085" sldId="4047"/>
        </pc:sldMkLst>
      </pc:sldChg>
      <pc:sldChg chg="del">
        <pc:chgData name="Justine Zayhowski" userId="2377d393-ab0f-4e66-8672-ed1beebcd407" providerId="ADAL" clId="{09ACE924-E4DA-4D29-8218-7C062EE57CC5}" dt="2021-02-03T15:17:00.031" v="1" actId="47"/>
        <pc:sldMkLst>
          <pc:docMk/>
          <pc:sldMk cId="3709291513" sldId="4048"/>
        </pc:sldMkLst>
      </pc:sldChg>
      <pc:sldChg chg="del">
        <pc:chgData name="Justine Zayhowski" userId="2377d393-ab0f-4e66-8672-ed1beebcd407" providerId="ADAL" clId="{09ACE924-E4DA-4D29-8218-7C062EE57CC5}" dt="2021-02-03T15:17:00.031" v="1" actId="47"/>
        <pc:sldMkLst>
          <pc:docMk/>
          <pc:sldMk cId="927406980" sldId="4049"/>
        </pc:sldMkLst>
      </pc:sldChg>
      <pc:sldChg chg="del">
        <pc:chgData name="Justine Zayhowski" userId="2377d393-ab0f-4e66-8672-ed1beebcd407" providerId="ADAL" clId="{09ACE924-E4DA-4D29-8218-7C062EE57CC5}" dt="2021-02-03T15:17:00.031" v="1" actId="47"/>
        <pc:sldMkLst>
          <pc:docMk/>
          <pc:sldMk cId="1121729845" sldId="4050"/>
        </pc:sldMkLst>
      </pc:sldChg>
      <pc:sldChg chg="del">
        <pc:chgData name="Justine Zayhowski" userId="2377d393-ab0f-4e66-8672-ed1beebcd407" providerId="ADAL" clId="{09ACE924-E4DA-4D29-8218-7C062EE57CC5}" dt="2021-02-03T15:17:00.031" v="1" actId="47"/>
        <pc:sldMkLst>
          <pc:docMk/>
          <pc:sldMk cId="3789295725" sldId="4051"/>
        </pc:sldMkLst>
      </pc:sldChg>
      <pc:sldChg chg="modSp add del mod">
        <pc:chgData name="Justine Zayhowski" userId="2377d393-ab0f-4e66-8672-ed1beebcd407" providerId="ADAL" clId="{09ACE924-E4DA-4D29-8218-7C062EE57CC5}" dt="2021-03-01T13:25:19.259" v="700" actId="47"/>
        <pc:sldMkLst>
          <pc:docMk/>
          <pc:sldMk cId="3987619541" sldId="4053"/>
        </pc:sldMkLst>
        <pc:spChg chg="mod">
          <ac:chgData name="Justine Zayhowski" userId="2377d393-ab0f-4e66-8672-ed1beebcd407" providerId="ADAL" clId="{09ACE924-E4DA-4D29-8218-7C062EE57CC5}" dt="2021-03-01T13:16:49.570" v="575" actId="20577"/>
          <ac:spMkLst>
            <pc:docMk/>
            <pc:sldMk cId="3987619541" sldId="4053"/>
            <ac:spMk id="3" creationId="{789EBB61-BF5A-4C35-881F-E12FEF30E1AF}"/>
          </ac:spMkLst>
        </pc:spChg>
      </pc:sldChg>
      <pc:sldChg chg="modSp add mod">
        <pc:chgData name="Justine Zayhowski" userId="2377d393-ab0f-4e66-8672-ed1beebcd407" providerId="ADAL" clId="{09ACE924-E4DA-4D29-8218-7C062EE57CC5}" dt="2021-03-10T21:09:36.634" v="18305" actId="20577"/>
        <pc:sldMkLst>
          <pc:docMk/>
          <pc:sldMk cId="2987806787" sldId="4054"/>
        </pc:sldMkLst>
        <pc:spChg chg="mod">
          <ac:chgData name="Justine Zayhowski" userId="2377d393-ab0f-4e66-8672-ed1beebcd407" providerId="ADAL" clId="{09ACE924-E4DA-4D29-8218-7C062EE57CC5}" dt="2021-03-10T21:09:36.634" v="18305" actId="20577"/>
          <ac:spMkLst>
            <pc:docMk/>
            <pc:sldMk cId="2987806787" sldId="4054"/>
            <ac:spMk id="3" creationId="{789EBB61-BF5A-4C35-881F-E12FEF30E1AF}"/>
          </ac:spMkLst>
        </pc:spChg>
      </pc:sldChg>
      <pc:sldChg chg="addSp delSp modSp add del mod">
        <pc:chgData name="Justine Zayhowski" userId="2377d393-ab0f-4e66-8672-ed1beebcd407" providerId="ADAL" clId="{09ACE924-E4DA-4D29-8218-7C062EE57CC5}" dt="2021-03-04T14:22:22.292" v="4041" actId="47"/>
        <pc:sldMkLst>
          <pc:docMk/>
          <pc:sldMk cId="1239026519" sldId="4055"/>
        </pc:sldMkLst>
        <pc:spChg chg="mod">
          <ac:chgData name="Justine Zayhowski" userId="2377d393-ab0f-4e66-8672-ed1beebcd407" providerId="ADAL" clId="{09ACE924-E4DA-4D29-8218-7C062EE57CC5}" dt="2021-03-02T17:27:41.203" v="865" actId="20577"/>
          <ac:spMkLst>
            <pc:docMk/>
            <pc:sldMk cId="1239026519" sldId="4055"/>
            <ac:spMk id="3" creationId="{8E396B14-F9D7-4ACC-AED3-6E88E76396F5}"/>
          </ac:spMkLst>
        </pc:spChg>
        <pc:spChg chg="add del mod">
          <ac:chgData name="Justine Zayhowski" userId="2377d393-ab0f-4e66-8672-ed1beebcd407" providerId="ADAL" clId="{09ACE924-E4DA-4D29-8218-7C062EE57CC5}" dt="2021-03-04T14:20:59.204" v="3765" actId="478"/>
          <ac:spMkLst>
            <pc:docMk/>
            <pc:sldMk cId="1239026519" sldId="4055"/>
            <ac:spMk id="4" creationId="{9F7BF746-AA0A-4E32-AF9D-13B240CC2581}"/>
          </ac:spMkLst>
        </pc:spChg>
        <pc:spChg chg="mod">
          <ac:chgData name="Justine Zayhowski" userId="2377d393-ab0f-4e66-8672-ed1beebcd407" providerId="ADAL" clId="{09ACE924-E4DA-4D29-8218-7C062EE57CC5}" dt="2021-02-19T17:35:30.388" v="183" actId="1035"/>
          <ac:spMkLst>
            <pc:docMk/>
            <pc:sldMk cId="1239026519" sldId="4055"/>
            <ac:spMk id="5" creationId="{D3915D3D-656E-48AA-8D63-358A7E5AA453}"/>
          </ac:spMkLst>
        </pc:spChg>
      </pc:sldChg>
      <pc:sldChg chg="modSp add del mod">
        <pc:chgData name="Justine Zayhowski" userId="2377d393-ab0f-4e66-8672-ed1beebcd407" providerId="ADAL" clId="{09ACE924-E4DA-4D29-8218-7C062EE57CC5}" dt="2021-03-04T14:26:28.650" v="4407" actId="47"/>
        <pc:sldMkLst>
          <pc:docMk/>
          <pc:sldMk cId="2738562868" sldId="4056"/>
        </pc:sldMkLst>
        <pc:spChg chg="mod">
          <ac:chgData name="Justine Zayhowski" userId="2377d393-ab0f-4e66-8672-ed1beebcd407" providerId="ADAL" clId="{09ACE924-E4DA-4D29-8218-7C062EE57CC5}" dt="2021-03-02T17:27:59.267" v="889" actId="20577"/>
          <ac:spMkLst>
            <pc:docMk/>
            <pc:sldMk cId="2738562868" sldId="4056"/>
            <ac:spMk id="3" creationId="{8E396B14-F9D7-4ACC-AED3-6E88E76396F5}"/>
          </ac:spMkLst>
        </pc:spChg>
        <pc:spChg chg="mod">
          <ac:chgData name="Justine Zayhowski" userId="2377d393-ab0f-4e66-8672-ed1beebcd407" providerId="ADAL" clId="{09ACE924-E4DA-4D29-8218-7C062EE57CC5}" dt="2021-03-02T17:28:02.961" v="912" actId="1035"/>
          <ac:spMkLst>
            <pc:docMk/>
            <pc:sldMk cId="2738562868" sldId="4056"/>
            <ac:spMk id="5" creationId="{D3915D3D-656E-48AA-8D63-358A7E5AA453}"/>
          </ac:spMkLst>
        </pc:spChg>
      </pc:sldChg>
      <pc:sldChg chg="modSp add del mod">
        <pc:chgData name="Justine Zayhowski" userId="2377d393-ab0f-4e66-8672-ed1beebcd407" providerId="ADAL" clId="{09ACE924-E4DA-4D29-8218-7C062EE57CC5}" dt="2021-02-19T17:37:00.127" v="242" actId="47"/>
        <pc:sldMkLst>
          <pc:docMk/>
          <pc:sldMk cId="179026981" sldId="4057"/>
        </pc:sldMkLst>
        <pc:spChg chg="mod">
          <ac:chgData name="Justine Zayhowski" userId="2377d393-ab0f-4e66-8672-ed1beebcd407" providerId="ADAL" clId="{09ACE924-E4DA-4D29-8218-7C062EE57CC5}" dt="2021-02-19T17:36:22.812" v="238" actId="11"/>
          <ac:spMkLst>
            <pc:docMk/>
            <pc:sldMk cId="179026981" sldId="4057"/>
            <ac:spMk id="3" creationId="{8E396B14-F9D7-4ACC-AED3-6E88E76396F5}"/>
          </ac:spMkLst>
        </pc:spChg>
      </pc:sldChg>
      <pc:sldChg chg="modSp add del mod">
        <pc:chgData name="Justine Zayhowski" userId="2377d393-ab0f-4e66-8672-ed1beebcd407" providerId="ADAL" clId="{09ACE924-E4DA-4D29-8218-7C062EE57CC5}" dt="2021-03-04T14:26:29.883" v="4408" actId="47"/>
        <pc:sldMkLst>
          <pc:docMk/>
          <pc:sldMk cId="2558031316" sldId="4058"/>
        </pc:sldMkLst>
        <pc:spChg chg="mod">
          <ac:chgData name="Justine Zayhowski" userId="2377d393-ab0f-4e66-8672-ed1beebcd407" providerId="ADAL" clId="{09ACE924-E4DA-4D29-8218-7C062EE57CC5}" dt="2021-03-02T17:28:12.174" v="916" actId="20577"/>
          <ac:spMkLst>
            <pc:docMk/>
            <pc:sldMk cId="2558031316" sldId="4058"/>
            <ac:spMk id="3" creationId="{8E396B14-F9D7-4ACC-AED3-6E88E76396F5}"/>
          </ac:spMkLst>
        </pc:spChg>
        <pc:spChg chg="mod">
          <ac:chgData name="Justine Zayhowski" userId="2377d393-ab0f-4e66-8672-ed1beebcd407" providerId="ADAL" clId="{09ACE924-E4DA-4D29-8218-7C062EE57CC5}" dt="2021-03-02T17:28:15.225" v="935" actId="1036"/>
          <ac:spMkLst>
            <pc:docMk/>
            <pc:sldMk cId="2558031316" sldId="4058"/>
            <ac:spMk id="5" creationId="{D3915D3D-656E-48AA-8D63-358A7E5AA453}"/>
          </ac:spMkLst>
        </pc:spChg>
      </pc:sldChg>
      <pc:sldChg chg="modSp add del mod">
        <pc:chgData name="Justine Zayhowski" userId="2377d393-ab0f-4e66-8672-ed1beebcd407" providerId="ADAL" clId="{09ACE924-E4DA-4D29-8218-7C062EE57CC5}" dt="2021-03-04T14:24:59.411" v="4287" actId="47"/>
        <pc:sldMkLst>
          <pc:docMk/>
          <pc:sldMk cId="2542743827" sldId="4059"/>
        </pc:sldMkLst>
        <pc:spChg chg="mod">
          <ac:chgData name="Justine Zayhowski" userId="2377d393-ab0f-4e66-8672-ed1beebcd407" providerId="ADAL" clId="{09ACE924-E4DA-4D29-8218-7C062EE57CC5}" dt="2021-03-02T17:28:24.009" v="939" actId="20577"/>
          <ac:spMkLst>
            <pc:docMk/>
            <pc:sldMk cId="2542743827" sldId="4059"/>
            <ac:spMk id="3" creationId="{8E396B14-F9D7-4ACC-AED3-6E88E76396F5}"/>
          </ac:spMkLst>
        </pc:spChg>
        <pc:spChg chg="mod">
          <ac:chgData name="Justine Zayhowski" userId="2377d393-ab0f-4e66-8672-ed1beebcd407" providerId="ADAL" clId="{09ACE924-E4DA-4D29-8218-7C062EE57CC5}" dt="2021-03-02T17:28:26.881" v="953" actId="1036"/>
          <ac:spMkLst>
            <pc:docMk/>
            <pc:sldMk cId="2542743827" sldId="4059"/>
            <ac:spMk id="5" creationId="{D3915D3D-656E-48AA-8D63-358A7E5AA453}"/>
          </ac:spMkLst>
        </pc:spChg>
      </pc:sldChg>
      <pc:sldChg chg="modSp add del mod">
        <pc:chgData name="Justine Zayhowski" userId="2377d393-ab0f-4e66-8672-ed1beebcd407" providerId="ADAL" clId="{09ACE924-E4DA-4D29-8218-7C062EE57CC5}" dt="2021-03-04T14:25:03.209" v="4288" actId="47"/>
        <pc:sldMkLst>
          <pc:docMk/>
          <pc:sldMk cId="4123975436" sldId="4060"/>
        </pc:sldMkLst>
        <pc:spChg chg="mod">
          <ac:chgData name="Justine Zayhowski" userId="2377d393-ab0f-4e66-8672-ed1beebcd407" providerId="ADAL" clId="{09ACE924-E4DA-4D29-8218-7C062EE57CC5}" dt="2021-03-01T13:22:42.483" v="690" actId="1036"/>
          <ac:spMkLst>
            <pc:docMk/>
            <pc:sldMk cId="4123975436" sldId="4060"/>
            <ac:spMk id="5" creationId="{D3915D3D-656E-48AA-8D63-358A7E5AA453}"/>
          </ac:spMkLst>
        </pc:spChg>
      </pc:sldChg>
      <pc:sldChg chg="addSp modSp new del mod ord">
        <pc:chgData name="Justine Zayhowski" userId="2377d393-ab0f-4e66-8672-ed1beebcd407" providerId="ADAL" clId="{09ACE924-E4DA-4D29-8218-7C062EE57CC5}" dt="2021-03-04T19:22:55.386" v="7373" actId="47"/>
        <pc:sldMkLst>
          <pc:docMk/>
          <pc:sldMk cId="1865611317" sldId="4061"/>
        </pc:sldMkLst>
        <pc:spChg chg="mod">
          <ac:chgData name="Justine Zayhowski" userId="2377d393-ab0f-4e66-8672-ed1beebcd407" providerId="ADAL" clId="{09ACE924-E4DA-4D29-8218-7C062EE57CC5}" dt="2021-03-02T17:26:52.090" v="815" actId="20577"/>
          <ac:spMkLst>
            <pc:docMk/>
            <pc:sldMk cId="1865611317" sldId="4061"/>
            <ac:spMk id="2" creationId="{27631F2F-7230-4FE5-9F05-5ECBBC21EFA0}"/>
          </ac:spMkLst>
        </pc:spChg>
        <pc:spChg chg="add mod">
          <ac:chgData name="Justine Zayhowski" userId="2377d393-ab0f-4e66-8672-ed1beebcd407" providerId="ADAL" clId="{09ACE924-E4DA-4D29-8218-7C062EE57CC5}" dt="2021-03-04T19:22:52.198" v="7372" actId="20577"/>
          <ac:spMkLst>
            <pc:docMk/>
            <pc:sldMk cId="1865611317" sldId="4061"/>
            <ac:spMk id="4" creationId="{C84C5DF1-A77B-4A48-8BC8-AA829B8240D0}"/>
          </ac:spMkLst>
        </pc:spChg>
      </pc:sldChg>
      <pc:sldChg chg="addSp modSp add mod delCm">
        <pc:chgData name="Justine Zayhowski" userId="2377d393-ab0f-4e66-8672-ed1beebcd407" providerId="ADAL" clId="{09ACE924-E4DA-4D29-8218-7C062EE57CC5}" dt="2021-03-10T19:11:40.493" v="17796" actId="1592"/>
        <pc:sldMkLst>
          <pc:docMk/>
          <pc:sldMk cId="676161097" sldId="4062"/>
        </pc:sldMkLst>
        <pc:spChg chg="mod">
          <ac:chgData name="Justine Zayhowski" userId="2377d393-ab0f-4e66-8672-ed1beebcd407" providerId="ADAL" clId="{09ACE924-E4DA-4D29-8218-7C062EE57CC5}" dt="2021-03-08T18:47:13.562" v="12176" actId="20577"/>
          <ac:spMkLst>
            <pc:docMk/>
            <pc:sldMk cId="676161097" sldId="4062"/>
            <ac:spMk id="2" creationId="{58F6FD0C-8DF5-4BA6-ACE9-9C287CEBA250}"/>
          </ac:spMkLst>
        </pc:spChg>
        <pc:spChg chg="mod">
          <ac:chgData name="Justine Zayhowski" userId="2377d393-ab0f-4e66-8672-ed1beebcd407" providerId="ADAL" clId="{09ACE924-E4DA-4D29-8218-7C062EE57CC5}" dt="2021-03-08T18:48:11.253" v="12210" actId="5793"/>
          <ac:spMkLst>
            <pc:docMk/>
            <pc:sldMk cId="676161097" sldId="4062"/>
            <ac:spMk id="3" creationId="{8796EEB6-D932-4959-A2CE-5635ED427A24}"/>
          </ac:spMkLst>
        </pc:spChg>
        <pc:spChg chg="add mod">
          <ac:chgData name="Justine Zayhowski" userId="2377d393-ab0f-4e66-8672-ed1beebcd407" providerId="ADAL" clId="{09ACE924-E4DA-4D29-8218-7C062EE57CC5}" dt="2021-03-08T18:47:59.989" v="12204" actId="20577"/>
          <ac:spMkLst>
            <pc:docMk/>
            <pc:sldMk cId="676161097" sldId="4062"/>
            <ac:spMk id="4" creationId="{24C5D144-6F9B-4EBF-9BB3-7338B1F3F672}"/>
          </ac:spMkLst>
        </pc:spChg>
      </pc:sldChg>
      <pc:sldChg chg="modSp add del mod ord">
        <pc:chgData name="Justine Zayhowski" userId="2377d393-ab0f-4e66-8672-ed1beebcd407" providerId="ADAL" clId="{09ACE924-E4DA-4D29-8218-7C062EE57CC5}" dt="2021-03-04T14:22:54.907" v="4106" actId="47"/>
        <pc:sldMkLst>
          <pc:docMk/>
          <pc:sldMk cId="3651540365" sldId="4062"/>
        </pc:sldMkLst>
        <pc:spChg chg="mod">
          <ac:chgData name="Justine Zayhowski" userId="2377d393-ab0f-4e66-8672-ed1beebcd407" providerId="ADAL" clId="{09ACE924-E4DA-4D29-8218-7C062EE57CC5}" dt="2021-03-02T17:27:46.762" v="883" actId="1036"/>
          <ac:spMkLst>
            <pc:docMk/>
            <pc:sldMk cId="3651540365" sldId="4062"/>
            <ac:spMk id="5" creationId="{D3915D3D-656E-48AA-8D63-358A7E5AA453}"/>
          </ac:spMkLst>
        </pc:spChg>
      </pc:sldChg>
      <pc:sldChg chg="add del">
        <pc:chgData name="Justine Zayhowski" userId="2377d393-ab0f-4e66-8672-ed1beebcd407" providerId="ADAL" clId="{09ACE924-E4DA-4D29-8218-7C062EE57CC5}" dt="2021-03-08T18:46:13.105" v="11998" actId="2696"/>
        <pc:sldMkLst>
          <pc:docMk/>
          <pc:sldMk cId="3752360577" sldId="4062"/>
        </pc:sldMkLst>
      </pc:sldChg>
      <pc:sldChg chg="addSp modSp add del mod">
        <pc:chgData name="Justine Zayhowski" userId="2377d393-ab0f-4e66-8672-ed1beebcd407" providerId="ADAL" clId="{09ACE924-E4DA-4D29-8218-7C062EE57CC5}" dt="2021-03-09T13:37:27.926" v="13281" actId="2696"/>
        <pc:sldMkLst>
          <pc:docMk/>
          <pc:sldMk cId="705451932" sldId="4063"/>
        </pc:sldMkLst>
        <pc:spChg chg="mod">
          <ac:chgData name="Justine Zayhowski" userId="2377d393-ab0f-4e66-8672-ed1beebcd407" providerId="ADAL" clId="{09ACE924-E4DA-4D29-8218-7C062EE57CC5}" dt="2021-03-04T17:43:07.142" v="6507" actId="20577"/>
          <ac:spMkLst>
            <pc:docMk/>
            <pc:sldMk cId="705451932" sldId="4063"/>
            <ac:spMk id="2" creationId="{E08AA6FB-E19D-4112-8C5B-2F069C7E9193}"/>
          </ac:spMkLst>
        </pc:spChg>
        <pc:spChg chg="mod">
          <ac:chgData name="Justine Zayhowski" userId="2377d393-ab0f-4e66-8672-ed1beebcd407" providerId="ADAL" clId="{09ACE924-E4DA-4D29-8218-7C062EE57CC5}" dt="2021-03-08T18:32:32.518" v="11344" actId="21"/>
          <ac:spMkLst>
            <pc:docMk/>
            <pc:sldMk cId="705451932" sldId="4063"/>
            <ac:spMk id="3" creationId="{D4A8534B-B70C-4A4F-900E-3C9058F5AD18}"/>
          </ac:spMkLst>
        </pc:spChg>
        <pc:spChg chg="add mod">
          <ac:chgData name="Justine Zayhowski" userId="2377d393-ab0f-4e66-8672-ed1beebcd407" providerId="ADAL" clId="{09ACE924-E4DA-4D29-8218-7C062EE57CC5}" dt="2021-03-04T17:17:49.767" v="5475" actId="20577"/>
          <ac:spMkLst>
            <pc:docMk/>
            <pc:sldMk cId="705451932" sldId="4063"/>
            <ac:spMk id="4" creationId="{D3DCFCC0-2BAE-4B0D-A42F-396552B0241B}"/>
          </ac:spMkLst>
        </pc:spChg>
      </pc:sldChg>
      <pc:sldChg chg="delSp modSp add mod">
        <pc:chgData name="Justine Zayhowski" userId="2377d393-ab0f-4e66-8672-ed1beebcd407" providerId="ADAL" clId="{09ACE924-E4DA-4D29-8218-7C062EE57CC5}" dt="2021-03-10T19:26:31.936" v="18099" actId="478"/>
        <pc:sldMkLst>
          <pc:docMk/>
          <pc:sldMk cId="3640067537" sldId="4063"/>
        </pc:sldMkLst>
        <pc:spChg chg="mod">
          <ac:chgData name="Justine Zayhowski" userId="2377d393-ab0f-4e66-8672-ed1beebcd407" providerId="ADAL" clId="{09ACE924-E4DA-4D29-8218-7C062EE57CC5}" dt="2021-03-09T14:16:54.016" v="14684" actId="20577"/>
          <ac:spMkLst>
            <pc:docMk/>
            <pc:sldMk cId="3640067537" sldId="4063"/>
            <ac:spMk id="2" creationId="{E08AA6FB-E19D-4112-8C5B-2F069C7E9193}"/>
          </ac:spMkLst>
        </pc:spChg>
        <pc:spChg chg="del">
          <ac:chgData name="Justine Zayhowski" userId="2377d393-ab0f-4e66-8672-ed1beebcd407" providerId="ADAL" clId="{09ACE924-E4DA-4D29-8218-7C062EE57CC5}" dt="2021-03-10T19:26:31.936" v="18099" actId="478"/>
          <ac:spMkLst>
            <pc:docMk/>
            <pc:sldMk cId="3640067537" sldId="4063"/>
            <ac:spMk id="4" creationId="{D3DCFCC0-2BAE-4B0D-A42F-396552B0241B}"/>
          </ac:spMkLst>
        </pc:spChg>
      </pc:sldChg>
      <pc:sldChg chg="modSp add mod">
        <pc:chgData name="Justine Zayhowski" userId="2377d393-ab0f-4e66-8672-ed1beebcd407" providerId="ADAL" clId="{09ACE924-E4DA-4D29-8218-7C062EE57CC5}" dt="2021-03-09T15:40:57.909" v="16407" actId="114"/>
        <pc:sldMkLst>
          <pc:docMk/>
          <pc:sldMk cId="503826769" sldId="4064"/>
        </pc:sldMkLst>
        <pc:spChg chg="mod">
          <ac:chgData name="Justine Zayhowski" userId="2377d393-ab0f-4e66-8672-ed1beebcd407" providerId="ADAL" clId="{09ACE924-E4DA-4D29-8218-7C062EE57CC5}" dt="2021-03-09T15:40:57.909" v="16407" actId="114"/>
          <ac:spMkLst>
            <pc:docMk/>
            <pc:sldMk cId="503826769" sldId="4064"/>
            <ac:spMk id="3" creationId="{8796EEB6-D932-4959-A2CE-5635ED427A24}"/>
          </ac:spMkLst>
        </pc:spChg>
      </pc:sldChg>
      <pc:sldChg chg="addSp delSp modSp new del mod">
        <pc:chgData name="Justine Zayhowski" userId="2377d393-ab0f-4e66-8672-ed1beebcd407" providerId="ADAL" clId="{09ACE924-E4DA-4D29-8218-7C062EE57CC5}" dt="2021-03-04T14:23:00.623" v="4107" actId="47"/>
        <pc:sldMkLst>
          <pc:docMk/>
          <pc:sldMk cId="1288694003" sldId="4064"/>
        </pc:sldMkLst>
        <pc:spChg chg="mod">
          <ac:chgData name="Justine Zayhowski" userId="2377d393-ab0f-4e66-8672-ed1beebcd407" providerId="ADAL" clId="{09ACE924-E4DA-4D29-8218-7C062EE57CC5}" dt="2021-03-02T18:57:00.353" v="2162" actId="20577"/>
          <ac:spMkLst>
            <pc:docMk/>
            <pc:sldMk cId="1288694003" sldId="4064"/>
            <ac:spMk id="2" creationId="{6A04C47C-1B21-49EE-8D31-3A4481995C49}"/>
          </ac:spMkLst>
        </pc:spChg>
        <pc:spChg chg="mod">
          <ac:chgData name="Justine Zayhowski" userId="2377d393-ab0f-4e66-8672-ed1beebcd407" providerId="ADAL" clId="{09ACE924-E4DA-4D29-8218-7C062EE57CC5}" dt="2021-03-04T14:18:26.704" v="3595" actId="20577"/>
          <ac:spMkLst>
            <pc:docMk/>
            <pc:sldMk cId="1288694003" sldId="4064"/>
            <ac:spMk id="3" creationId="{F1444EDD-D030-4EB7-89B9-87BA25818D38}"/>
          </ac:spMkLst>
        </pc:spChg>
        <pc:spChg chg="add del mod">
          <ac:chgData name="Justine Zayhowski" userId="2377d393-ab0f-4e66-8672-ed1beebcd407" providerId="ADAL" clId="{09ACE924-E4DA-4D29-8218-7C062EE57CC5}" dt="2021-03-02T19:22:46.250" v="2466" actId="478"/>
          <ac:spMkLst>
            <pc:docMk/>
            <pc:sldMk cId="1288694003" sldId="4064"/>
            <ac:spMk id="4" creationId="{B70B41EF-BD50-4144-AF8D-804C8BE9254E}"/>
          </ac:spMkLst>
        </pc:spChg>
      </pc:sldChg>
      <pc:sldChg chg="add del">
        <pc:chgData name="Justine Zayhowski" userId="2377d393-ab0f-4e66-8672-ed1beebcd407" providerId="ADAL" clId="{09ACE924-E4DA-4D29-8218-7C062EE57CC5}" dt="2021-03-08T18:46:13.105" v="11998" actId="2696"/>
        <pc:sldMkLst>
          <pc:docMk/>
          <pc:sldMk cId="2823081110" sldId="4064"/>
        </pc:sldMkLst>
      </pc:sldChg>
      <pc:sldChg chg="addSp modSp new del mod">
        <pc:chgData name="Justine Zayhowski" userId="2377d393-ab0f-4e66-8672-ed1beebcd407" providerId="ADAL" clId="{09ACE924-E4DA-4D29-8218-7C062EE57CC5}" dt="2021-03-08T18:40:37.234" v="11862" actId="47"/>
        <pc:sldMkLst>
          <pc:docMk/>
          <pc:sldMk cId="553857068" sldId="4065"/>
        </pc:sldMkLst>
        <pc:spChg chg="mod">
          <ac:chgData name="Justine Zayhowski" userId="2377d393-ab0f-4e66-8672-ed1beebcd407" providerId="ADAL" clId="{09ACE924-E4DA-4D29-8218-7C062EE57CC5}" dt="2021-03-02T18:57:18.995" v="2178" actId="20577"/>
          <ac:spMkLst>
            <pc:docMk/>
            <pc:sldMk cId="553857068" sldId="4065"/>
            <ac:spMk id="2" creationId="{23C335EA-BA04-4D5A-8F0F-2A7665268D2F}"/>
          </ac:spMkLst>
        </pc:spChg>
        <pc:spChg chg="mod">
          <ac:chgData name="Justine Zayhowski" userId="2377d393-ab0f-4e66-8672-ed1beebcd407" providerId="ADAL" clId="{09ACE924-E4DA-4D29-8218-7C062EE57CC5}" dt="2021-03-02T18:57:20.117" v="2179"/>
          <ac:spMkLst>
            <pc:docMk/>
            <pc:sldMk cId="553857068" sldId="4065"/>
            <ac:spMk id="3" creationId="{223185BE-A4C3-4E2A-936F-D0F68B127DFC}"/>
          </ac:spMkLst>
        </pc:spChg>
        <pc:spChg chg="add mod">
          <ac:chgData name="Justine Zayhowski" userId="2377d393-ab0f-4e66-8672-ed1beebcd407" providerId="ADAL" clId="{09ACE924-E4DA-4D29-8218-7C062EE57CC5}" dt="2021-03-02T18:57:37.459" v="2181" actId="20577"/>
          <ac:spMkLst>
            <pc:docMk/>
            <pc:sldMk cId="553857068" sldId="4065"/>
            <ac:spMk id="4" creationId="{A2B6FC2F-7F7E-4933-972C-49CB07510F17}"/>
          </ac:spMkLst>
        </pc:spChg>
      </pc:sldChg>
      <pc:sldChg chg="addSp delSp modSp new mod ord">
        <pc:chgData name="Justine Zayhowski" userId="2377d393-ab0f-4e66-8672-ed1beebcd407" providerId="ADAL" clId="{09ACE924-E4DA-4D29-8218-7C062EE57CC5}" dt="2021-03-07T11:45:46.175" v="9192" actId="478"/>
        <pc:sldMkLst>
          <pc:docMk/>
          <pc:sldMk cId="2149627426" sldId="4066"/>
        </pc:sldMkLst>
        <pc:spChg chg="mod">
          <ac:chgData name="Justine Zayhowski" userId="2377d393-ab0f-4e66-8672-ed1beebcd407" providerId="ADAL" clId="{09ACE924-E4DA-4D29-8218-7C062EE57CC5}" dt="2021-03-04T14:24:14.849" v="4203" actId="20577"/>
          <ac:spMkLst>
            <pc:docMk/>
            <pc:sldMk cId="2149627426" sldId="4066"/>
            <ac:spMk id="2" creationId="{F93F7715-CA94-487B-BAF7-07B2CB2DC830}"/>
          </ac:spMkLst>
        </pc:spChg>
        <pc:spChg chg="mod">
          <ac:chgData name="Justine Zayhowski" userId="2377d393-ab0f-4e66-8672-ed1beebcd407" providerId="ADAL" clId="{09ACE924-E4DA-4D29-8218-7C062EE57CC5}" dt="2021-03-04T14:24:33.234" v="4267" actId="20577"/>
          <ac:spMkLst>
            <pc:docMk/>
            <pc:sldMk cId="2149627426" sldId="4066"/>
            <ac:spMk id="3" creationId="{1E153C1F-EEE1-4406-AC25-738FF1B48C67}"/>
          </ac:spMkLst>
        </pc:spChg>
        <pc:spChg chg="add del mod">
          <ac:chgData name="Justine Zayhowski" userId="2377d393-ab0f-4e66-8672-ed1beebcd407" providerId="ADAL" clId="{09ACE924-E4DA-4D29-8218-7C062EE57CC5}" dt="2021-03-07T11:45:46.175" v="9192" actId="478"/>
          <ac:spMkLst>
            <pc:docMk/>
            <pc:sldMk cId="2149627426" sldId="4066"/>
            <ac:spMk id="4" creationId="{B4F17858-070B-4886-A625-4EA45A31478A}"/>
          </ac:spMkLst>
        </pc:spChg>
      </pc:sldChg>
      <pc:sldChg chg="add del">
        <pc:chgData name="Justine Zayhowski" userId="2377d393-ab0f-4e66-8672-ed1beebcd407" providerId="ADAL" clId="{09ACE924-E4DA-4D29-8218-7C062EE57CC5}" dt="2021-03-09T15:34:35.527" v="16287" actId="47"/>
        <pc:sldMkLst>
          <pc:docMk/>
          <pc:sldMk cId="933528819" sldId="4067"/>
        </pc:sldMkLst>
      </pc:sldChg>
      <pc:sldChg chg="modSp new del mod">
        <pc:chgData name="Justine Zayhowski" userId="2377d393-ab0f-4e66-8672-ed1beebcd407" providerId="ADAL" clId="{09ACE924-E4DA-4D29-8218-7C062EE57CC5}" dt="2021-03-04T14:18:20.059" v="3594" actId="47"/>
        <pc:sldMkLst>
          <pc:docMk/>
          <pc:sldMk cId="3910321413" sldId="4067"/>
        </pc:sldMkLst>
        <pc:spChg chg="mod">
          <ac:chgData name="Justine Zayhowski" userId="2377d393-ab0f-4e66-8672-ed1beebcd407" providerId="ADAL" clId="{09ACE924-E4DA-4D29-8218-7C062EE57CC5}" dt="2021-03-02T19:23:07.305" v="2479"/>
          <ac:spMkLst>
            <pc:docMk/>
            <pc:sldMk cId="3910321413" sldId="4067"/>
            <ac:spMk id="2" creationId="{B6952B3A-C498-43C4-A7F8-68148BE87214}"/>
          </ac:spMkLst>
        </pc:spChg>
        <pc:spChg chg="mod">
          <ac:chgData name="Justine Zayhowski" userId="2377d393-ab0f-4e66-8672-ed1beebcd407" providerId="ADAL" clId="{09ACE924-E4DA-4D29-8218-7C062EE57CC5}" dt="2021-03-02T19:23:34.156" v="2537" actId="113"/>
          <ac:spMkLst>
            <pc:docMk/>
            <pc:sldMk cId="3910321413" sldId="4067"/>
            <ac:spMk id="3" creationId="{70E5EE7E-0908-4C72-A348-A523E6212916}"/>
          </ac:spMkLst>
        </pc:spChg>
      </pc:sldChg>
      <pc:sldChg chg="addSp modSp new del mod ord">
        <pc:chgData name="Justine Zayhowski" userId="2377d393-ab0f-4e66-8672-ed1beebcd407" providerId="ADAL" clId="{09ACE924-E4DA-4D29-8218-7C062EE57CC5}" dt="2021-03-08T17:34:14.267" v="10199" actId="2696"/>
        <pc:sldMkLst>
          <pc:docMk/>
          <pc:sldMk cId="2081109611" sldId="4068"/>
        </pc:sldMkLst>
        <pc:spChg chg="mod">
          <ac:chgData name="Justine Zayhowski" userId="2377d393-ab0f-4e66-8672-ed1beebcd407" providerId="ADAL" clId="{09ACE924-E4DA-4D29-8218-7C062EE57CC5}" dt="2021-03-04T20:13:14.503" v="8909" actId="1036"/>
          <ac:spMkLst>
            <pc:docMk/>
            <pc:sldMk cId="2081109611" sldId="4068"/>
            <ac:spMk id="2" creationId="{80D074E2-5741-4DF1-BFE2-A9A313F33817}"/>
          </ac:spMkLst>
        </pc:spChg>
        <pc:spChg chg="mod">
          <ac:chgData name="Justine Zayhowski" userId="2377d393-ab0f-4e66-8672-ed1beebcd407" providerId="ADAL" clId="{09ACE924-E4DA-4D29-8218-7C062EE57CC5}" dt="2021-03-04T20:13:43.281" v="8922" actId="115"/>
          <ac:spMkLst>
            <pc:docMk/>
            <pc:sldMk cId="2081109611" sldId="4068"/>
            <ac:spMk id="3" creationId="{269C9A7D-066C-4B18-8C0D-A8C60ABB883B}"/>
          </ac:spMkLst>
        </pc:spChg>
        <pc:spChg chg="add mod">
          <ac:chgData name="Justine Zayhowski" userId="2377d393-ab0f-4e66-8672-ed1beebcd407" providerId="ADAL" clId="{09ACE924-E4DA-4D29-8218-7C062EE57CC5}" dt="2021-03-04T20:14:26.487" v="9121" actId="1076"/>
          <ac:spMkLst>
            <pc:docMk/>
            <pc:sldMk cId="2081109611" sldId="4068"/>
            <ac:spMk id="4" creationId="{8656D985-6B22-4CAD-8211-4D060A976575}"/>
          </ac:spMkLst>
        </pc:spChg>
      </pc:sldChg>
      <pc:sldChg chg="delSp modSp add mod delCm">
        <pc:chgData name="Justine Zayhowski" userId="2377d393-ab0f-4e66-8672-ed1beebcd407" providerId="ADAL" clId="{09ACE924-E4DA-4D29-8218-7C062EE57CC5}" dt="2021-03-10T19:05:13.142" v="17794" actId="478"/>
        <pc:sldMkLst>
          <pc:docMk/>
          <pc:sldMk cId="2640927102" sldId="4068"/>
        </pc:sldMkLst>
        <pc:spChg chg="mod">
          <ac:chgData name="Justine Zayhowski" userId="2377d393-ab0f-4e66-8672-ed1beebcd407" providerId="ADAL" clId="{09ACE924-E4DA-4D29-8218-7C062EE57CC5}" dt="2021-03-10T19:05:05.356" v="17792" actId="20577"/>
          <ac:spMkLst>
            <pc:docMk/>
            <pc:sldMk cId="2640927102" sldId="4068"/>
            <ac:spMk id="3" creationId="{269C9A7D-066C-4B18-8C0D-A8C60ABB883B}"/>
          </ac:spMkLst>
        </pc:spChg>
        <pc:spChg chg="del mod">
          <ac:chgData name="Justine Zayhowski" userId="2377d393-ab0f-4e66-8672-ed1beebcd407" providerId="ADAL" clId="{09ACE924-E4DA-4D29-8218-7C062EE57CC5}" dt="2021-03-10T19:05:13.142" v="17794" actId="478"/>
          <ac:spMkLst>
            <pc:docMk/>
            <pc:sldMk cId="2640927102" sldId="4068"/>
            <ac:spMk id="4" creationId="{8656D985-6B22-4CAD-8211-4D060A976575}"/>
          </ac:spMkLst>
        </pc:spChg>
      </pc:sldChg>
      <pc:sldChg chg="addSp delSp modSp new del mod ord">
        <pc:chgData name="Justine Zayhowski" userId="2377d393-ab0f-4e66-8672-ed1beebcd407" providerId="ADAL" clId="{09ACE924-E4DA-4D29-8218-7C062EE57CC5}" dt="2021-03-08T17:34:14.267" v="10199" actId="2696"/>
        <pc:sldMkLst>
          <pc:docMk/>
          <pc:sldMk cId="1430527105" sldId="4069"/>
        </pc:sldMkLst>
        <pc:spChg chg="mod">
          <ac:chgData name="Justine Zayhowski" userId="2377d393-ab0f-4e66-8672-ed1beebcd407" providerId="ADAL" clId="{09ACE924-E4DA-4D29-8218-7C062EE57CC5}" dt="2021-03-04T17:43:49.726" v="6517"/>
          <ac:spMkLst>
            <pc:docMk/>
            <pc:sldMk cId="1430527105" sldId="4069"/>
            <ac:spMk id="2" creationId="{B5D10B20-2F1C-4478-9298-5E7801BD6B94}"/>
          </ac:spMkLst>
        </pc:spChg>
        <pc:spChg chg="del mod">
          <ac:chgData name="Justine Zayhowski" userId="2377d393-ab0f-4e66-8672-ed1beebcd407" providerId="ADAL" clId="{09ACE924-E4DA-4D29-8218-7C062EE57CC5}" dt="2021-03-04T17:47:01.751" v="7080" actId="478"/>
          <ac:spMkLst>
            <pc:docMk/>
            <pc:sldMk cId="1430527105" sldId="4069"/>
            <ac:spMk id="3" creationId="{DE7BA98D-E963-4D37-8BDC-0340F787C8E5}"/>
          </ac:spMkLst>
        </pc:spChg>
        <pc:spChg chg="add del mod">
          <ac:chgData name="Justine Zayhowski" userId="2377d393-ab0f-4e66-8672-ed1beebcd407" providerId="ADAL" clId="{09ACE924-E4DA-4D29-8218-7C062EE57CC5}" dt="2021-03-04T19:21:31.045" v="7349" actId="478"/>
          <ac:spMkLst>
            <pc:docMk/>
            <pc:sldMk cId="1430527105" sldId="4069"/>
            <ac:spMk id="4" creationId="{02FFEEF3-1FCD-4773-A29E-1BC28B0860C7}"/>
          </ac:spMkLst>
        </pc:spChg>
        <pc:spChg chg="add mod">
          <ac:chgData name="Justine Zayhowski" userId="2377d393-ab0f-4e66-8672-ed1beebcd407" providerId="ADAL" clId="{09ACE924-E4DA-4D29-8218-7C062EE57CC5}" dt="2021-03-04T19:21:37.291" v="7360" actId="1036"/>
          <ac:spMkLst>
            <pc:docMk/>
            <pc:sldMk cId="1430527105" sldId="4069"/>
            <ac:spMk id="5" creationId="{8C65DC8F-88F6-4751-9D0C-91B4E41C5FCD}"/>
          </ac:spMkLst>
        </pc:spChg>
        <pc:spChg chg="add del mod">
          <ac:chgData name="Justine Zayhowski" userId="2377d393-ab0f-4e66-8672-ed1beebcd407" providerId="ADAL" clId="{09ACE924-E4DA-4D29-8218-7C062EE57CC5}" dt="2021-03-04T17:47:04.621" v="7081" actId="478"/>
          <ac:spMkLst>
            <pc:docMk/>
            <pc:sldMk cId="1430527105" sldId="4069"/>
            <ac:spMk id="7" creationId="{BC0CAAE2-3040-43E3-B325-EA8BCF0F9D87}"/>
          </ac:spMkLst>
        </pc:spChg>
      </pc:sldChg>
      <pc:sldChg chg="modSp add mod modAnim delCm">
        <pc:chgData name="Justine Zayhowski" userId="2377d393-ab0f-4e66-8672-ed1beebcd407" providerId="ADAL" clId="{09ACE924-E4DA-4D29-8218-7C062EE57CC5}" dt="2021-03-10T19:01:57.874" v="17791" actId="20577"/>
        <pc:sldMkLst>
          <pc:docMk/>
          <pc:sldMk cId="3278514452" sldId="4069"/>
        </pc:sldMkLst>
        <pc:spChg chg="mod">
          <ac:chgData name="Justine Zayhowski" userId="2377d393-ab0f-4e66-8672-ed1beebcd407" providerId="ADAL" clId="{09ACE924-E4DA-4D29-8218-7C062EE57CC5}" dt="2021-03-10T19:01:57.874" v="17791" actId="20577"/>
          <ac:spMkLst>
            <pc:docMk/>
            <pc:sldMk cId="3278514452" sldId="4069"/>
            <ac:spMk id="5" creationId="{8C65DC8F-88F6-4751-9D0C-91B4E41C5FCD}"/>
          </ac:spMkLst>
        </pc:spChg>
      </pc:sldChg>
      <pc:sldChg chg="add del">
        <pc:chgData name="Justine Zayhowski" userId="2377d393-ab0f-4e66-8672-ed1beebcd407" providerId="ADAL" clId="{09ACE924-E4DA-4D29-8218-7C062EE57CC5}" dt="2021-03-09T15:37:20.678" v="16349" actId="47"/>
        <pc:sldMkLst>
          <pc:docMk/>
          <pc:sldMk cId="61088023" sldId="4070"/>
        </pc:sldMkLst>
      </pc:sldChg>
      <pc:sldChg chg="modSp add del mod">
        <pc:chgData name="Justine Zayhowski" userId="2377d393-ab0f-4e66-8672-ed1beebcd407" providerId="ADAL" clId="{09ACE924-E4DA-4D29-8218-7C062EE57CC5}" dt="2021-03-04T17:06:56.849" v="5023" actId="47"/>
        <pc:sldMkLst>
          <pc:docMk/>
          <pc:sldMk cId="3522700491" sldId="4070"/>
        </pc:sldMkLst>
        <pc:spChg chg="mod">
          <ac:chgData name="Justine Zayhowski" userId="2377d393-ab0f-4e66-8672-ed1beebcd407" providerId="ADAL" clId="{09ACE924-E4DA-4D29-8218-7C062EE57CC5}" dt="2021-03-04T14:22:42.144" v="4082" actId="1036"/>
          <ac:spMkLst>
            <pc:docMk/>
            <pc:sldMk cId="3522700491" sldId="4070"/>
            <ac:spMk id="5" creationId="{D3915D3D-656E-48AA-8D63-358A7E5AA453}"/>
          </ac:spMkLst>
        </pc:spChg>
      </pc:sldChg>
      <pc:sldChg chg="add del">
        <pc:chgData name="Justine Zayhowski" userId="2377d393-ab0f-4e66-8672-ed1beebcd407" providerId="ADAL" clId="{09ACE924-E4DA-4D29-8218-7C062EE57CC5}" dt="2021-03-09T15:38:36.581" v="16379" actId="47"/>
        <pc:sldMkLst>
          <pc:docMk/>
          <pc:sldMk cId="3500608523" sldId="4071"/>
        </pc:sldMkLst>
      </pc:sldChg>
      <pc:sldChg chg="modSp add del mod">
        <pc:chgData name="Justine Zayhowski" userId="2377d393-ab0f-4e66-8672-ed1beebcd407" providerId="ADAL" clId="{09ACE924-E4DA-4D29-8218-7C062EE57CC5}" dt="2021-03-04T17:06:58.365" v="5024" actId="47"/>
        <pc:sldMkLst>
          <pc:docMk/>
          <pc:sldMk cId="3873814063" sldId="4071"/>
        </pc:sldMkLst>
        <pc:spChg chg="mod">
          <ac:chgData name="Justine Zayhowski" userId="2377d393-ab0f-4e66-8672-ed1beebcd407" providerId="ADAL" clId="{09ACE924-E4DA-4D29-8218-7C062EE57CC5}" dt="2021-03-04T14:22:47.921" v="4104" actId="1035"/>
          <ac:spMkLst>
            <pc:docMk/>
            <pc:sldMk cId="3873814063" sldId="4071"/>
            <ac:spMk id="5" creationId="{D3915D3D-656E-48AA-8D63-358A7E5AA453}"/>
          </ac:spMkLst>
        </pc:spChg>
      </pc:sldChg>
      <pc:sldChg chg="modSp add del mod">
        <pc:chgData name="Justine Zayhowski" userId="2377d393-ab0f-4e66-8672-ed1beebcd407" providerId="ADAL" clId="{09ACE924-E4DA-4D29-8218-7C062EE57CC5}" dt="2021-03-04T17:07:08.467" v="5047" actId="47"/>
        <pc:sldMkLst>
          <pc:docMk/>
          <pc:sldMk cId="1090948830" sldId="4072"/>
        </pc:sldMkLst>
        <pc:spChg chg="mod">
          <ac:chgData name="Justine Zayhowski" userId="2377d393-ab0f-4e66-8672-ed1beebcd407" providerId="ADAL" clId="{09ACE924-E4DA-4D29-8218-7C062EE57CC5}" dt="2021-03-04T14:23:18.559" v="4121" actId="1036"/>
          <ac:spMkLst>
            <pc:docMk/>
            <pc:sldMk cId="1090948830" sldId="4072"/>
            <ac:spMk id="5" creationId="{D3915D3D-656E-48AA-8D63-358A7E5AA453}"/>
          </ac:spMkLst>
        </pc:spChg>
      </pc:sldChg>
      <pc:sldChg chg="add del">
        <pc:chgData name="Justine Zayhowski" userId="2377d393-ab0f-4e66-8672-ed1beebcd407" providerId="ADAL" clId="{09ACE924-E4DA-4D29-8218-7C062EE57CC5}" dt="2021-03-08T17:32:20.508" v="10076" actId="47"/>
        <pc:sldMkLst>
          <pc:docMk/>
          <pc:sldMk cId="3236212931" sldId="4072"/>
        </pc:sldMkLst>
      </pc:sldChg>
      <pc:sldChg chg="add del">
        <pc:chgData name="Justine Zayhowski" userId="2377d393-ab0f-4e66-8672-ed1beebcd407" providerId="ADAL" clId="{09ACE924-E4DA-4D29-8218-7C062EE57CC5}" dt="2021-03-08T17:32:21.753" v="10077" actId="47"/>
        <pc:sldMkLst>
          <pc:docMk/>
          <pc:sldMk cId="955115763" sldId="4073"/>
        </pc:sldMkLst>
      </pc:sldChg>
      <pc:sldChg chg="modSp add del mod">
        <pc:chgData name="Justine Zayhowski" userId="2377d393-ab0f-4e66-8672-ed1beebcd407" providerId="ADAL" clId="{09ACE924-E4DA-4D29-8218-7C062EE57CC5}" dt="2021-03-04T17:07:17.669" v="5083" actId="47"/>
        <pc:sldMkLst>
          <pc:docMk/>
          <pc:sldMk cId="1508399763" sldId="4073"/>
        </pc:sldMkLst>
        <pc:spChg chg="mod">
          <ac:chgData name="Justine Zayhowski" userId="2377d393-ab0f-4e66-8672-ed1beebcd407" providerId="ADAL" clId="{09ACE924-E4DA-4D29-8218-7C062EE57CC5}" dt="2021-03-04T14:23:31.784" v="4148" actId="1035"/>
          <ac:spMkLst>
            <pc:docMk/>
            <pc:sldMk cId="1508399763" sldId="4073"/>
            <ac:spMk id="5" creationId="{D3915D3D-656E-48AA-8D63-358A7E5AA453}"/>
          </ac:spMkLst>
        </pc:spChg>
      </pc:sldChg>
      <pc:sldChg chg="modSp add del mod">
        <pc:chgData name="Justine Zayhowski" userId="2377d393-ab0f-4e66-8672-ed1beebcd407" providerId="ADAL" clId="{09ACE924-E4DA-4D29-8218-7C062EE57CC5}" dt="2021-03-09T15:33:06.522" v="16217" actId="47"/>
        <pc:sldMkLst>
          <pc:docMk/>
          <pc:sldMk cId="769897664" sldId="4074"/>
        </pc:sldMkLst>
        <pc:graphicFrameChg chg="modGraphic">
          <ac:chgData name="Justine Zayhowski" userId="2377d393-ab0f-4e66-8672-ed1beebcd407" providerId="ADAL" clId="{09ACE924-E4DA-4D29-8218-7C062EE57CC5}" dt="2021-03-09T15:32:12.973" v="16196" actId="2164"/>
          <ac:graphicFrameMkLst>
            <pc:docMk/>
            <pc:sldMk cId="769897664" sldId="4074"/>
            <ac:graphicFrameMk id="5" creationId="{96EDC3CB-491E-487B-8655-0D1E72ED314F}"/>
          </ac:graphicFrameMkLst>
        </pc:graphicFrameChg>
      </pc:sldChg>
      <pc:sldChg chg="modSp add del mod">
        <pc:chgData name="Justine Zayhowski" userId="2377d393-ab0f-4e66-8672-ed1beebcd407" providerId="ADAL" clId="{09ACE924-E4DA-4D29-8218-7C062EE57CC5}" dt="2021-03-04T17:07:29.071" v="5126" actId="47"/>
        <pc:sldMkLst>
          <pc:docMk/>
          <pc:sldMk cId="3468260253" sldId="4074"/>
        </pc:sldMkLst>
        <pc:spChg chg="mod">
          <ac:chgData name="Justine Zayhowski" userId="2377d393-ab0f-4e66-8672-ed1beebcd407" providerId="ADAL" clId="{09ACE924-E4DA-4D29-8218-7C062EE57CC5}" dt="2021-03-04T14:24:58.201" v="4286" actId="1035"/>
          <ac:spMkLst>
            <pc:docMk/>
            <pc:sldMk cId="3468260253" sldId="4074"/>
            <ac:spMk id="5" creationId="{D3915D3D-656E-48AA-8D63-358A7E5AA453}"/>
          </ac:spMkLst>
        </pc:spChg>
      </pc:sldChg>
      <pc:sldChg chg="modSp add del mod">
        <pc:chgData name="Justine Zayhowski" userId="2377d393-ab0f-4e66-8672-ed1beebcd407" providerId="ADAL" clId="{09ACE924-E4DA-4D29-8218-7C062EE57CC5}" dt="2021-03-04T17:07:39.016" v="5169" actId="47"/>
        <pc:sldMkLst>
          <pc:docMk/>
          <pc:sldMk cId="2345279875" sldId="4075"/>
        </pc:sldMkLst>
        <pc:spChg chg="mod">
          <ac:chgData name="Justine Zayhowski" userId="2377d393-ab0f-4e66-8672-ed1beebcd407" providerId="ADAL" clId="{09ACE924-E4DA-4D29-8218-7C062EE57CC5}" dt="2021-03-04T14:25:07.832" v="4310" actId="1035"/>
          <ac:spMkLst>
            <pc:docMk/>
            <pc:sldMk cId="2345279875" sldId="4075"/>
            <ac:spMk id="5" creationId="{D3915D3D-656E-48AA-8D63-358A7E5AA453}"/>
          </ac:spMkLst>
        </pc:spChg>
      </pc:sldChg>
      <pc:sldChg chg="modSp add del mod">
        <pc:chgData name="Justine Zayhowski" userId="2377d393-ab0f-4e66-8672-ed1beebcd407" providerId="ADAL" clId="{09ACE924-E4DA-4D29-8218-7C062EE57CC5}" dt="2021-03-09T15:34:31.881" v="16286" actId="47"/>
        <pc:sldMkLst>
          <pc:docMk/>
          <pc:sldMk cId="2788945721" sldId="4075"/>
        </pc:sldMkLst>
        <pc:graphicFrameChg chg="modGraphic">
          <ac:chgData name="Justine Zayhowski" userId="2377d393-ab0f-4e66-8672-ed1beebcd407" providerId="ADAL" clId="{09ACE924-E4DA-4D29-8218-7C062EE57CC5}" dt="2021-03-09T15:33:39.079" v="16260" actId="2164"/>
          <ac:graphicFrameMkLst>
            <pc:docMk/>
            <pc:sldMk cId="2788945721" sldId="4075"/>
            <ac:graphicFrameMk id="5" creationId="{96EDC3CB-491E-487B-8655-0D1E72ED314F}"/>
          </ac:graphicFrameMkLst>
        </pc:graphicFrameChg>
      </pc:sldChg>
      <pc:sldChg chg="new del">
        <pc:chgData name="Justine Zayhowski" userId="2377d393-ab0f-4e66-8672-ed1beebcd407" providerId="ADAL" clId="{09ACE924-E4DA-4D29-8218-7C062EE57CC5}" dt="2021-03-04T14:25:49.568" v="4312" actId="680"/>
        <pc:sldMkLst>
          <pc:docMk/>
          <pc:sldMk cId="1100019669" sldId="4076"/>
        </pc:sldMkLst>
      </pc:sldChg>
      <pc:sldChg chg="modSp new mod">
        <pc:chgData name="Justine Zayhowski" userId="2377d393-ab0f-4e66-8672-ed1beebcd407" providerId="ADAL" clId="{09ACE924-E4DA-4D29-8218-7C062EE57CC5}" dt="2021-03-04T19:30:54.465" v="8110" actId="113"/>
        <pc:sldMkLst>
          <pc:docMk/>
          <pc:sldMk cId="2865607598" sldId="4076"/>
        </pc:sldMkLst>
        <pc:spChg chg="mod">
          <ac:chgData name="Justine Zayhowski" userId="2377d393-ab0f-4e66-8672-ed1beebcd407" providerId="ADAL" clId="{09ACE924-E4DA-4D29-8218-7C062EE57CC5}" dt="2021-03-04T19:28:20.675" v="8010" actId="20577"/>
          <ac:spMkLst>
            <pc:docMk/>
            <pc:sldMk cId="2865607598" sldId="4076"/>
            <ac:spMk id="2" creationId="{B23F0F63-466E-4773-9245-2E897A74B80E}"/>
          </ac:spMkLst>
        </pc:spChg>
        <pc:spChg chg="mod">
          <ac:chgData name="Justine Zayhowski" userId="2377d393-ab0f-4e66-8672-ed1beebcd407" providerId="ADAL" clId="{09ACE924-E4DA-4D29-8218-7C062EE57CC5}" dt="2021-03-04T19:30:54.465" v="8110" actId="113"/>
          <ac:spMkLst>
            <pc:docMk/>
            <pc:sldMk cId="2865607598" sldId="4076"/>
            <ac:spMk id="3" creationId="{7D3CD307-04CA-4A5F-87F7-F2350CEA8818}"/>
          </ac:spMkLst>
        </pc:spChg>
      </pc:sldChg>
      <pc:sldChg chg="modSp new mod">
        <pc:chgData name="Justine Zayhowski" userId="2377d393-ab0f-4e66-8672-ed1beebcd407" providerId="ADAL" clId="{09ACE924-E4DA-4D29-8218-7C062EE57CC5}" dt="2021-03-10T19:29:36.738" v="18183" actId="20577"/>
        <pc:sldMkLst>
          <pc:docMk/>
          <pc:sldMk cId="445429999" sldId="4077"/>
        </pc:sldMkLst>
        <pc:spChg chg="mod">
          <ac:chgData name="Justine Zayhowski" userId="2377d393-ab0f-4e66-8672-ed1beebcd407" providerId="ADAL" clId="{09ACE924-E4DA-4D29-8218-7C062EE57CC5}" dt="2021-03-08T18:50:10.294" v="12238" actId="20577"/>
          <ac:spMkLst>
            <pc:docMk/>
            <pc:sldMk cId="445429999" sldId="4077"/>
            <ac:spMk id="2" creationId="{14E605A1-BF64-4FC0-B871-8A9C64220F7D}"/>
          </ac:spMkLst>
        </pc:spChg>
        <pc:spChg chg="mod">
          <ac:chgData name="Justine Zayhowski" userId="2377d393-ab0f-4e66-8672-ed1beebcd407" providerId="ADAL" clId="{09ACE924-E4DA-4D29-8218-7C062EE57CC5}" dt="2021-03-10T19:29:36.738" v="18183" actId="20577"/>
          <ac:spMkLst>
            <pc:docMk/>
            <pc:sldMk cId="445429999" sldId="4077"/>
            <ac:spMk id="3" creationId="{CD926FAF-1182-4146-AA14-ACE4CC8DE26D}"/>
          </ac:spMkLst>
        </pc:spChg>
      </pc:sldChg>
      <pc:sldChg chg="addSp modSp new del mod ord">
        <pc:chgData name="Justine Zayhowski" userId="2377d393-ab0f-4e66-8672-ed1beebcd407" providerId="ADAL" clId="{09ACE924-E4DA-4D29-8218-7C062EE57CC5}" dt="2021-03-10T19:33:48.024" v="18189" actId="47"/>
        <pc:sldMkLst>
          <pc:docMk/>
          <pc:sldMk cId="3800047514" sldId="4078"/>
        </pc:sldMkLst>
        <pc:spChg chg="mod">
          <ac:chgData name="Justine Zayhowski" userId="2377d393-ab0f-4e66-8672-ed1beebcd407" providerId="ADAL" clId="{09ACE924-E4DA-4D29-8218-7C062EE57CC5}" dt="2021-03-08T19:24:01.906" v="12787" actId="20577"/>
          <ac:spMkLst>
            <pc:docMk/>
            <pc:sldMk cId="3800047514" sldId="4078"/>
            <ac:spMk id="2" creationId="{147201B8-9E60-4731-A7C0-0EF1509D18E2}"/>
          </ac:spMkLst>
        </pc:spChg>
        <pc:spChg chg="mod">
          <ac:chgData name="Justine Zayhowski" userId="2377d393-ab0f-4e66-8672-ed1beebcd407" providerId="ADAL" clId="{09ACE924-E4DA-4D29-8218-7C062EE57CC5}" dt="2021-03-09T15:51:14.031" v="17400" actId="14100"/>
          <ac:spMkLst>
            <pc:docMk/>
            <pc:sldMk cId="3800047514" sldId="4078"/>
            <ac:spMk id="3" creationId="{18B2B228-D94F-4BB4-87D8-AEC31B2BEB17}"/>
          </ac:spMkLst>
        </pc:spChg>
        <pc:spChg chg="add mod">
          <ac:chgData name="Justine Zayhowski" userId="2377d393-ab0f-4e66-8672-ed1beebcd407" providerId="ADAL" clId="{09ACE924-E4DA-4D29-8218-7C062EE57CC5}" dt="2021-03-09T15:48:55.815" v="17139" actId="1035"/>
          <ac:spMkLst>
            <pc:docMk/>
            <pc:sldMk cId="3800047514" sldId="4078"/>
            <ac:spMk id="4" creationId="{64894902-3737-4838-B489-F300439D98D6}"/>
          </ac:spMkLst>
        </pc:spChg>
        <pc:graphicFrameChg chg="add mod modGraphic">
          <ac:chgData name="Justine Zayhowski" userId="2377d393-ab0f-4e66-8672-ed1beebcd407" providerId="ADAL" clId="{09ACE924-E4DA-4D29-8218-7C062EE57CC5}" dt="2021-03-09T15:51:33.456" v="17403" actId="20577"/>
          <ac:graphicFrameMkLst>
            <pc:docMk/>
            <pc:sldMk cId="3800047514" sldId="4078"/>
            <ac:graphicFrameMk id="5" creationId="{B40099A8-7717-44B1-8AAE-8CE9AAE8573C}"/>
          </ac:graphicFrameMkLst>
        </pc:graphicFrameChg>
      </pc:sldChg>
      <pc:sldChg chg="modSp add mod">
        <pc:chgData name="Justine Zayhowski" userId="2377d393-ab0f-4e66-8672-ed1beebcd407" providerId="ADAL" clId="{09ACE924-E4DA-4D29-8218-7C062EE57CC5}" dt="2021-03-08T14:40:53.673" v="9908" actId="20577"/>
        <pc:sldMkLst>
          <pc:docMk/>
          <pc:sldMk cId="2055660097" sldId="4079"/>
        </pc:sldMkLst>
        <pc:spChg chg="mod">
          <ac:chgData name="Justine Zayhowski" userId="2377d393-ab0f-4e66-8672-ed1beebcd407" providerId="ADAL" clId="{09ACE924-E4DA-4D29-8218-7C062EE57CC5}" dt="2021-03-08T14:40:53.673" v="9908" actId="20577"/>
          <ac:spMkLst>
            <pc:docMk/>
            <pc:sldMk cId="2055660097" sldId="4079"/>
            <ac:spMk id="3" creationId="{8E396B14-F9D7-4ACC-AED3-6E88E76396F5}"/>
          </ac:spMkLst>
        </pc:spChg>
        <pc:spChg chg="mod">
          <ac:chgData name="Justine Zayhowski" userId="2377d393-ab0f-4e66-8672-ed1beebcd407" providerId="ADAL" clId="{09ACE924-E4DA-4D29-8218-7C062EE57CC5}" dt="2021-03-04T17:06:53.383" v="5022" actId="1035"/>
          <ac:spMkLst>
            <pc:docMk/>
            <pc:sldMk cId="2055660097" sldId="4079"/>
            <ac:spMk id="5" creationId="{D3915D3D-656E-48AA-8D63-358A7E5AA453}"/>
          </ac:spMkLst>
        </pc:spChg>
      </pc:sldChg>
      <pc:sldChg chg="modSp add mod">
        <pc:chgData name="Justine Zayhowski" userId="2377d393-ab0f-4e66-8672-ed1beebcd407" providerId="ADAL" clId="{09ACE924-E4DA-4D29-8218-7C062EE57CC5}" dt="2021-03-08T14:40:58.186" v="9909" actId="20577"/>
        <pc:sldMkLst>
          <pc:docMk/>
          <pc:sldMk cId="2580039730" sldId="4080"/>
        </pc:sldMkLst>
        <pc:spChg chg="mod">
          <ac:chgData name="Justine Zayhowski" userId="2377d393-ab0f-4e66-8672-ed1beebcd407" providerId="ADAL" clId="{09ACE924-E4DA-4D29-8218-7C062EE57CC5}" dt="2021-03-08T14:40:58.186" v="9909" actId="20577"/>
          <ac:spMkLst>
            <pc:docMk/>
            <pc:sldMk cId="2580039730" sldId="4080"/>
            <ac:spMk id="3" creationId="{8E396B14-F9D7-4ACC-AED3-6E88E76396F5}"/>
          </ac:spMkLst>
        </pc:spChg>
        <pc:spChg chg="mod">
          <ac:chgData name="Justine Zayhowski" userId="2377d393-ab0f-4e66-8672-ed1beebcd407" providerId="ADAL" clId="{09ACE924-E4DA-4D29-8218-7C062EE57CC5}" dt="2021-03-04T17:07:06.910" v="5046" actId="1036"/>
          <ac:spMkLst>
            <pc:docMk/>
            <pc:sldMk cId="2580039730" sldId="4080"/>
            <ac:spMk id="5" creationId="{D3915D3D-656E-48AA-8D63-358A7E5AA453}"/>
          </ac:spMkLst>
        </pc:spChg>
      </pc:sldChg>
      <pc:sldChg chg="modSp add mod">
        <pc:chgData name="Justine Zayhowski" userId="2377d393-ab0f-4e66-8672-ed1beebcd407" providerId="ADAL" clId="{09ACE924-E4DA-4D29-8218-7C062EE57CC5}" dt="2021-03-08T14:41:07.972" v="9967" actId="1035"/>
        <pc:sldMkLst>
          <pc:docMk/>
          <pc:sldMk cId="3496725251" sldId="4081"/>
        </pc:sldMkLst>
        <pc:spChg chg="mod">
          <ac:chgData name="Justine Zayhowski" userId="2377d393-ab0f-4e66-8672-ed1beebcd407" providerId="ADAL" clId="{09ACE924-E4DA-4D29-8218-7C062EE57CC5}" dt="2021-03-08T14:41:05.932" v="9959" actId="20577"/>
          <ac:spMkLst>
            <pc:docMk/>
            <pc:sldMk cId="3496725251" sldId="4081"/>
            <ac:spMk id="3" creationId="{8E396B14-F9D7-4ACC-AED3-6E88E76396F5}"/>
          </ac:spMkLst>
        </pc:spChg>
        <pc:spChg chg="mod">
          <ac:chgData name="Justine Zayhowski" userId="2377d393-ab0f-4e66-8672-ed1beebcd407" providerId="ADAL" clId="{09ACE924-E4DA-4D29-8218-7C062EE57CC5}" dt="2021-03-08T14:41:07.972" v="9967" actId="1035"/>
          <ac:spMkLst>
            <pc:docMk/>
            <pc:sldMk cId="3496725251" sldId="4081"/>
            <ac:spMk id="5" creationId="{D3915D3D-656E-48AA-8D63-358A7E5AA453}"/>
          </ac:spMkLst>
        </pc:spChg>
      </pc:sldChg>
      <pc:sldChg chg="modSp add mod">
        <pc:chgData name="Justine Zayhowski" userId="2377d393-ab0f-4e66-8672-ed1beebcd407" providerId="ADAL" clId="{09ACE924-E4DA-4D29-8218-7C062EE57CC5}" dt="2021-03-08T14:41:46.353" v="9989" actId="1036"/>
        <pc:sldMkLst>
          <pc:docMk/>
          <pc:sldMk cId="3260804150" sldId="4082"/>
        </pc:sldMkLst>
        <pc:spChg chg="mod">
          <ac:chgData name="Justine Zayhowski" userId="2377d393-ab0f-4e66-8672-ed1beebcd407" providerId="ADAL" clId="{09ACE924-E4DA-4D29-8218-7C062EE57CC5}" dt="2021-03-08T14:41:42.397" v="9969" actId="20577"/>
          <ac:spMkLst>
            <pc:docMk/>
            <pc:sldMk cId="3260804150" sldId="4082"/>
            <ac:spMk id="3" creationId="{8E396B14-F9D7-4ACC-AED3-6E88E76396F5}"/>
          </ac:spMkLst>
        </pc:spChg>
        <pc:spChg chg="mod">
          <ac:chgData name="Justine Zayhowski" userId="2377d393-ab0f-4e66-8672-ed1beebcd407" providerId="ADAL" clId="{09ACE924-E4DA-4D29-8218-7C062EE57CC5}" dt="2021-03-08T14:41:46.353" v="9989" actId="1036"/>
          <ac:spMkLst>
            <pc:docMk/>
            <pc:sldMk cId="3260804150" sldId="4082"/>
            <ac:spMk id="5" creationId="{D3915D3D-656E-48AA-8D63-358A7E5AA453}"/>
          </ac:spMkLst>
        </pc:spChg>
      </pc:sldChg>
      <pc:sldChg chg="modSp add mod">
        <pc:chgData name="Justine Zayhowski" userId="2377d393-ab0f-4e66-8672-ed1beebcd407" providerId="ADAL" clId="{09ACE924-E4DA-4D29-8218-7C062EE57CC5}" dt="2021-03-08T14:42:02.414" v="10003" actId="1035"/>
        <pc:sldMkLst>
          <pc:docMk/>
          <pc:sldMk cId="3581920087" sldId="4083"/>
        </pc:sldMkLst>
        <pc:spChg chg="mod">
          <ac:chgData name="Justine Zayhowski" userId="2377d393-ab0f-4e66-8672-ed1beebcd407" providerId="ADAL" clId="{09ACE924-E4DA-4D29-8218-7C062EE57CC5}" dt="2021-03-08T14:41:59.116" v="9990" actId="20577"/>
          <ac:spMkLst>
            <pc:docMk/>
            <pc:sldMk cId="3581920087" sldId="4083"/>
            <ac:spMk id="3" creationId="{8E396B14-F9D7-4ACC-AED3-6E88E76396F5}"/>
          </ac:spMkLst>
        </pc:spChg>
        <pc:spChg chg="mod">
          <ac:chgData name="Justine Zayhowski" userId="2377d393-ab0f-4e66-8672-ed1beebcd407" providerId="ADAL" clId="{09ACE924-E4DA-4D29-8218-7C062EE57CC5}" dt="2021-03-08T14:42:02.414" v="10003" actId="1035"/>
          <ac:spMkLst>
            <pc:docMk/>
            <pc:sldMk cId="3581920087" sldId="4083"/>
            <ac:spMk id="5" creationId="{D3915D3D-656E-48AA-8D63-358A7E5AA453}"/>
          </ac:spMkLst>
        </pc:spChg>
      </pc:sldChg>
      <pc:sldChg chg="addSp delSp modSp new mod">
        <pc:chgData name="Justine Zayhowski" userId="2377d393-ab0f-4e66-8672-ed1beebcd407" providerId="ADAL" clId="{09ACE924-E4DA-4D29-8218-7C062EE57CC5}" dt="2021-03-10T21:14:24.607" v="18383" actId="1035"/>
        <pc:sldMkLst>
          <pc:docMk/>
          <pc:sldMk cId="2390967901" sldId="4084"/>
        </pc:sldMkLst>
        <pc:spChg chg="mod">
          <ac:chgData name="Justine Zayhowski" userId="2377d393-ab0f-4e66-8672-ed1beebcd407" providerId="ADAL" clId="{09ACE924-E4DA-4D29-8218-7C062EE57CC5}" dt="2021-03-08T18:39:31.133" v="11861" actId="20577"/>
          <ac:spMkLst>
            <pc:docMk/>
            <pc:sldMk cId="2390967901" sldId="4084"/>
            <ac:spMk id="2" creationId="{95CFB505-2CAF-4C62-895E-41DEC53C2E60}"/>
          </ac:spMkLst>
        </pc:spChg>
        <pc:spChg chg="mod">
          <ac:chgData name="Justine Zayhowski" userId="2377d393-ab0f-4e66-8672-ed1beebcd407" providerId="ADAL" clId="{09ACE924-E4DA-4D29-8218-7C062EE57CC5}" dt="2021-03-10T21:14:19.441" v="18369" actId="20577"/>
          <ac:spMkLst>
            <pc:docMk/>
            <pc:sldMk cId="2390967901" sldId="4084"/>
            <ac:spMk id="3" creationId="{1B7CAB5F-A75D-4B50-9880-73D9AB580C06}"/>
          </ac:spMkLst>
        </pc:spChg>
        <pc:spChg chg="add del mod">
          <ac:chgData name="Justine Zayhowski" userId="2377d393-ab0f-4e66-8672-ed1beebcd407" providerId="ADAL" clId="{09ACE924-E4DA-4D29-8218-7C062EE57CC5}" dt="2021-03-10T19:24:16.633" v="17995" actId="478"/>
          <ac:spMkLst>
            <pc:docMk/>
            <pc:sldMk cId="2390967901" sldId="4084"/>
            <ac:spMk id="4" creationId="{92D075E3-D721-4CCA-98BB-BC82D0A21DD3}"/>
          </ac:spMkLst>
        </pc:spChg>
        <pc:graphicFrameChg chg="add mod modGraphic">
          <ac:chgData name="Justine Zayhowski" userId="2377d393-ab0f-4e66-8672-ed1beebcd407" providerId="ADAL" clId="{09ACE924-E4DA-4D29-8218-7C062EE57CC5}" dt="2021-03-10T21:14:24.607" v="18383" actId="1035"/>
          <ac:graphicFrameMkLst>
            <pc:docMk/>
            <pc:sldMk cId="2390967901" sldId="4084"/>
            <ac:graphicFrameMk id="5" creationId="{6B5E31FD-6D7B-42E7-B525-35BC482E2031}"/>
          </ac:graphicFrameMkLst>
        </pc:graphicFrameChg>
      </pc:sldChg>
      <pc:sldChg chg="modSp add mod">
        <pc:chgData name="Justine Zayhowski" userId="2377d393-ab0f-4e66-8672-ed1beebcd407" providerId="ADAL" clId="{09ACE924-E4DA-4D29-8218-7C062EE57CC5}" dt="2021-03-09T14:17:00.761" v="14690" actId="20577"/>
        <pc:sldMkLst>
          <pc:docMk/>
          <pc:sldMk cId="2241488220" sldId="4085"/>
        </pc:sldMkLst>
        <pc:spChg chg="mod">
          <ac:chgData name="Justine Zayhowski" userId="2377d393-ab0f-4e66-8672-ed1beebcd407" providerId="ADAL" clId="{09ACE924-E4DA-4D29-8218-7C062EE57CC5}" dt="2021-03-09T14:17:00.761" v="14690" actId="20577"/>
          <ac:spMkLst>
            <pc:docMk/>
            <pc:sldMk cId="2241488220" sldId="4085"/>
            <ac:spMk id="2" creationId="{E08AA6FB-E19D-4112-8C5B-2F069C7E9193}"/>
          </ac:spMkLst>
        </pc:spChg>
      </pc:sldChg>
      <pc:sldChg chg="addSp delSp modSp add del mod">
        <pc:chgData name="Justine Zayhowski" userId="2377d393-ab0f-4e66-8672-ed1beebcd407" providerId="ADAL" clId="{09ACE924-E4DA-4D29-8218-7C062EE57CC5}" dt="2021-03-09T13:37:27.926" v="13281" actId="2696"/>
        <pc:sldMkLst>
          <pc:docMk/>
          <pc:sldMk cId="2987502768" sldId="4085"/>
        </pc:sldMkLst>
        <pc:spChg chg="mod">
          <ac:chgData name="Justine Zayhowski" userId="2377d393-ab0f-4e66-8672-ed1beebcd407" providerId="ADAL" clId="{09ACE924-E4DA-4D29-8218-7C062EE57CC5}" dt="2021-03-04T17:43:13.781" v="6511" actId="20577"/>
          <ac:spMkLst>
            <pc:docMk/>
            <pc:sldMk cId="2987502768" sldId="4085"/>
            <ac:spMk id="2" creationId="{E08AA6FB-E19D-4112-8C5B-2F069C7E9193}"/>
          </ac:spMkLst>
        </pc:spChg>
        <pc:spChg chg="mod">
          <ac:chgData name="Justine Zayhowski" userId="2377d393-ab0f-4e66-8672-ed1beebcd407" providerId="ADAL" clId="{09ACE924-E4DA-4D29-8218-7C062EE57CC5}" dt="2021-03-04T17:18:06.880" v="5477" actId="20577"/>
          <ac:spMkLst>
            <pc:docMk/>
            <pc:sldMk cId="2987502768" sldId="4085"/>
            <ac:spMk id="3" creationId="{D4A8534B-B70C-4A4F-900E-3C9058F5AD18}"/>
          </ac:spMkLst>
        </pc:spChg>
        <pc:spChg chg="del">
          <ac:chgData name="Justine Zayhowski" userId="2377d393-ab0f-4e66-8672-ed1beebcd407" providerId="ADAL" clId="{09ACE924-E4DA-4D29-8218-7C062EE57CC5}" dt="2021-03-04T17:18:08.495" v="5478" actId="478"/>
          <ac:spMkLst>
            <pc:docMk/>
            <pc:sldMk cId="2987502768" sldId="4085"/>
            <ac:spMk id="4" creationId="{D3DCFCC0-2BAE-4B0D-A42F-396552B0241B}"/>
          </ac:spMkLst>
        </pc:spChg>
        <pc:graphicFrameChg chg="add mod modGraphic">
          <ac:chgData name="Justine Zayhowski" userId="2377d393-ab0f-4e66-8672-ed1beebcd407" providerId="ADAL" clId="{09ACE924-E4DA-4D29-8218-7C062EE57CC5}" dt="2021-03-08T14:41:31.582" v="9968" actId="2711"/>
          <ac:graphicFrameMkLst>
            <pc:docMk/>
            <pc:sldMk cId="2987502768" sldId="4085"/>
            <ac:graphicFrameMk id="5" creationId="{67ECE0F5-0AD6-4934-83BD-2FFFA1A4584D}"/>
          </ac:graphicFrameMkLst>
        </pc:graphicFrameChg>
      </pc:sldChg>
      <pc:sldChg chg="addSp delSp modSp add mod">
        <pc:chgData name="Justine Zayhowski" userId="2377d393-ab0f-4e66-8672-ed1beebcd407" providerId="ADAL" clId="{09ACE924-E4DA-4D29-8218-7C062EE57CC5}" dt="2021-03-15T13:30:21.850" v="18388" actId="20577"/>
        <pc:sldMkLst>
          <pc:docMk/>
          <pc:sldMk cId="4201824155" sldId="4086"/>
        </pc:sldMkLst>
        <pc:spChg chg="mod">
          <ac:chgData name="Justine Zayhowski" userId="2377d393-ab0f-4e66-8672-ed1beebcd407" providerId="ADAL" clId="{09ACE924-E4DA-4D29-8218-7C062EE57CC5}" dt="2021-03-15T13:30:21.850" v="18388" actId="20577"/>
          <ac:spMkLst>
            <pc:docMk/>
            <pc:sldMk cId="4201824155" sldId="4086"/>
            <ac:spMk id="3" creationId="{7D3CD307-04CA-4A5F-87F7-F2350CEA8818}"/>
          </ac:spMkLst>
        </pc:spChg>
        <pc:spChg chg="add del mod">
          <ac:chgData name="Justine Zayhowski" userId="2377d393-ab0f-4e66-8672-ed1beebcd407" providerId="ADAL" clId="{09ACE924-E4DA-4D29-8218-7C062EE57CC5}" dt="2021-03-07T11:45:28.900" v="9189" actId="478"/>
          <ac:spMkLst>
            <pc:docMk/>
            <pc:sldMk cId="4201824155" sldId="4086"/>
            <ac:spMk id="5" creationId="{4BC8FA98-104A-4026-8BC6-864CCB6F57E9}"/>
          </ac:spMkLst>
        </pc:spChg>
        <pc:graphicFrameChg chg="add del mod modGraphic">
          <ac:chgData name="Justine Zayhowski" userId="2377d393-ab0f-4e66-8672-ed1beebcd407" providerId="ADAL" clId="{09ACE924-E4DA-4D29-8218-7C062EE57CC5}" dt="2021-03-07T11:45:31.904" v="9191" actId="478"/>
          <ac:graphicFrameMkLst>
            <pc:docMk/>
            <pc:sldMk cId="4201824155" sldId="4086"/>
            <ac:graphicFrameMk id="4" creationId="{DECC445F-0F08-49E9-BF0A-F0773686FE43}"/>
          </ac:graphicFrameMkLst>
        </pc:graphicFrameChg>
      </pc:sldChg>
      <pc:sldChg chg="modSp add mod">
        <pc:chgData name="Justine Zayhowski" userId="2377d393-ab0f-4e66-8672-ed1beebcd407" providerId="ADAL" clId="{09ACE924-E4DA-4D29-8218-7C062EE57CC5}" dt="2021-03-10T21:08:37.148" v="18259" actId="114"/>
        <pc:sldMkLst>
          <pc:docMk/>
          <pc:sldMk cId="98089409" sldId="4087"/>
        </pc:sldMkLst>
        <pc:spChg chg="mod">
          <ac:chgData name="Justine Zayhowski" userId="2377d393-ab0f-4e66-8672-ed1beebcd407" providerId="ADAL" clId="{09ACE924-E4DA-4D29-8218-7C062EE57CC5}" dt="2021-03-10T21:08:37.148" v="18259" actId="114"/>
          <ac:spMkLst>
            <pc:docMk/>
            <pc:sldMk cId="98089409" sldId="4087"/>
            <ac:spMk id="3" creationId="{7D3CD307-04CA-4A5F-87F7-F2350CEA8818}"/>
          </ac:spMkLst>
        </pc:spChg>
      </pc:sldChg>
      <pc:sldChg chg="modSp add mod">
        <pc:chgData name="Justine Zayhowski" userId="2377d393-ab0f-4e66-8672-ed1beebcd407" providerId="ADAL" clId="{09ACE924-E4DA-4D29-8218-7C062EE57CC5}" dt="2021-03-08T18:47:22.901" v="12180"/>
        <pc:sldMkLst>
          <pc:docMk/>
          <pc:sldMk cId="315649062" sldId="4088"/>
        </pc:sldMkLst>
        <pc:spChg chg="mod">
          <ac:chgData name="Justine Zayhowski" userId="2377d393-ab0f-4e66-8672-ed1beebcd407" providerId="ADAL" clId="{09ACE924-E4DA-4D29-8218-7C062EE57CC5}" dt="2021-03-08T18:47:22.901" v="12180"/>
          <ac:spMkLst>
            <pc:docMk/>
            <pc:sldMk cId="315649062" sldId="4088"/>
            <ac:spMk id="2" creationId="{58F6FD0C-8DF5-4BA6-ACE9-9C287CEBA250}"/>
          </ac:spMkLst>
        </pc:spChg>
      </pc:sldChg>
      <pc:sldChg chg="add del">
        <pc:chgData name="Justine Zayhowski" userId="2377d393-ab0f-4e66-8672-ed1beebcd407" providerId="ADAL" clId="{09ACE924-E4DA-4D29-8218-7C062EE57CC5}" dt="2021-03-08T18:46:13.105" v="11998" actId="2696"/>
        <pc:sldMkLst>
          <pc:docMk/>
          <pc:sldMk cId="4003594314" sldId="4088"/>
        </pc:sldMkLst>
      </pc:sldChg>
      <pc:sldChg chg="add del">
        <pc:chgData name="Justine Zayhowski" userId="2377d393-ab0f-4e66-8672-ed1beebcd407" providerId="ADAL" clId="{09ACE924-E4DA-4D29-8218-7C062EE57CC5}" dt="2021-03-08T18:46:13.105" v="11998" actId="2696"/>
        <pc:sldMkLst>
          <pc:docMk/>
          <pc:sldMk cId="746787427" sldId="4089"/>
        </pc:sldMkLst>
      </pc:sldChg>
      <pc:sldChg chg="add del ord">
        <pc:chgData name="Justine Zayhowski" userId="2377d393-ab0f-4e66-8672-ed1beebcd407" providerId="ADAL" clId="{09ACE924-E4DA-4D29-8218-7C062EE57CC5}" dt="2021-03-09T14:23:06.812" v="15074" actId="47"/>
        <pc:sldMkLst>
          <pc:docMk/>
          <pc:sldMk cId="2152779827" sldId="4089"/>
        </pc:sldMkLst>
      </pc:sldChg>
      <pc:sldChg chg="addSp modSp add del mod">
        <pc:chgData name="Justine Zayhowski" userId="2377d393-ab0f-4e66-8672-ed1beebcd407" providerId="ADAL" clId="{09ACE924-E4DA-4D29-8218-7C062EE57CC5}" dt="2021-03-09T14:23:08.391" v="15075" actId="47"/>
        <pc:sldMkLst>
          <pc:docMk/>
          <pc:sldMk cId="2653144934" sldId="4090"/>
        </pc:sldMkLst>
        <pc:spChg chg="mod">
          <ac:chgData name="Justine Zayhowski" userId="2377d393-ab0f-4e66-8672-ed1beebcd407" providerId="ADAL" clId="{09ACE924-E4DA-4D29-8218-7C062EE57CC5}" dt="2021-03-08T18:56:43.543" v="12733" actId="20577"/>
          <ac:spMkLst>
            <pc:docMk/>
            <pc:sldMk cId="2653144934" sldId="4090"/>
            <ac:spMk id="3" creationId="{8796EEB6-D932-4959-A2CE-5635ED427A24}"/>
          </ac:spMkLst>
        </pc:spChg>
        <pc:spChg chg="add mod">
          <ac:chgData name="Justine Zayhowski" userId="2377d393-ab0f-4e66-8672-ed1beebcd407" providerId="ADAL" clId="{09ACE924-E4DA-4D29-8218-7C062EE57CC5}" dt="2021-03-08T18:56:11.272" v="12732" actId="1076"/>
          <ac:spMkLst>
            <pc:docMk/>
            <pc:sldMk cId="2653144934" sldId="4090"/>
            <ac:spMk id="4" creationId="{2B92B339-3ECA-417F-85F1-02EB8CC415A1}"/>
          </ac:spMkLst>
        </pc:spChg>
      </pc:sldChg>
      <pc:sldChg chg="add del">
        <pc:chgData name="Justine Zayhowski" userId="2377d393-ab0f-4e66-8672-ed1beebcd407" providerId="ADAL" clId="{09ACE924-E4DA-4D29-8218-7C062EE57CC5}" dt="2021-03-09T14:19:59.652" v="14789" actId="47"/>
        <pc:sldMkLst>
          <pc:docMk/>
          <pc:sldMk cId="2575481593" sldId="4091"/>
        </pc:sldMkLst>
      </pc:sldChg>
      <pc:sldChg chg="add del ord">
        <pc:chgData name="Justine Zayhowski" userId="2377d393-ab0f-4e66-8672-ed1beebcd407" providerId="ADAL" clId="{09ACE924-E4DA-4D29-8218-7C062EE57CC5}" dt="2021-03-08T18:57:00.453" v="12736" actId="2696"/>
        <pc:sldMkLst>
          <pc:docMk/>
          <pc:sldMk cId="2659346295" sldId="4091"/>
        </pc:sldMkLst>
      </pc:sldChg>
      <pc:sldChg chg="modSp add mod delCm">
        <pc:chgData name="Justine Zayhowski" userId="2377d393-ab0f-4e66-8672-ed1beebcd407" providerId="ADAL" clId="{09ACE924-E4DA-4D29-8218-7C062EE57CC5}" dt="2021-03-10T21:10:26.480" v="18324" actId="1036"/>
        <pc:sldMkLst>
          <pc:docMk/>
          <pc:sldMk cId="1387018150" sldId="4092"/>
        </pc:sldMkLst>
        <pc:spChg chg="mod">
          <ac:chgData name="Justine Zayhowski" userId="2377d393-ab0f-4e66-8672-ed1beebcd407" providerId="ADAL" clId="{09ACE924-E4DA-4D29-8218-7C062EE57CC5}" dt="2021-03-09T14:26:57.922" v="15254" actId="14100"/>
          <ac:spMkLst>
            <pc:docMk/>
            <pc:sldMk cId="1387018150" sldId="4092"/>
            <ac:spMk id="2" creationId="{58F6FD0C-8DF5-4BA6-ACE9-9C287CEBA250}"/>
          </ac:spMkLst>
        </pc:spChg>
        <pc:graphicFrameChg chg="mod modGraphic">
          <ac:chgData name="Justine Zayhowski" userId="2377d393-ab0f-4e66-8672-ed1beebcd407" providerId="ADAL" clId="{09ACE924-E4DA-4D29-8218-7C062EE57CC5}" dt="2021-03-10T21:10:26.480" v="18324" actId="1036"/>
          <ac:graphicFrameMkLst>
            <pc:docMk/>
            <pc:sldMk cId="1387018150" sldId="4092"/>
            <ac:graphicFrameMk id="5" creationId="{96EDC3CB-491E-487B-8655-0D1E72ED314F}"/>
          </ac:graphicFrameMkLst>
        </pc:graphicFrameChg>
      </pc:sldChg>
      <pc:sldChg chg="add del">
        <pc:chgData name="Justine Zayhowski" userId="2377d393-ab0f-4e66-8672-ed1beebcd407" providerId="ADAL" clId="{09ACE924-E4DA-4D29-8218-7C062EE57CC5}" dt="2021-03-09T15:37:17.858" v="16348" actId="47"/>
        <pc:sldMkLst>
          <pc:docMk/>
          <pc:sldMk cId="1153275098" sldId="4093"/>
        </pc:sldMkLst>
      </pc:sldChg>
      <pc:sldChg chg="modSp new mod modAnim">
        <pc:chgData name="Justine Zayhowski" userId="2377d393-ab0f-4e66-8672-ed1beebcd407" providerId="ADAL" clId="{09ACE924-E4DA-4D29-8218-7C062EE57CC5}" dt="2021-03-07T11:48:29.568" v="9266"/>
        <pc:sldMkLst>
          <pc:docMk/>
          <pc:sldMk cId="979638190" sldId="4094"/>
        </pc:sldMkLst>
        <pc:spChg chg="mod">
          <ac:chgData name="Justine Zayhowski" userId="2377d393-ab0f-4e66-8672-ed1beebcd407" providerId="ADAL" clId="{09ACE924-E4DA-4D29-8218-7C062EE57CC5}" dt="2021-03-07T11:47:56.684" v="9259"/>
          <ac:spMkLst>
            <pc:docMk/>
            <pc:sldMk cId="979638190" sldId="4094"/>
            <ac:spMk id="2" creationId="{70240F5E-158C-48A7-BC31-671F05598E08}"/>
          </ac:spMkLst>
        </pc:spChg>
        <pc:spChg chg="mod">
          <ac:chgData name="Justine Zayhowski" userId="2377d393-ab0f-4e66-8672-ed1beebcd407" providerId="ADAL" clId="{09ACE924-E4DA-4D29-8218-7C062EE57CC5}" dt="2021-03-07T11:48:09.772" v="9264" actId="14100"/>
          <ac:spMkLst>
            <pc:docMk/>
            <pc:sldMk cId="979638190" sldId="4094"/>
            <ac:spMk id="3" creationId="{74DA07F6-EF0A-4D52-B717-DA63E03FF277}"/>
          </ac:spMkLst>
        </pc:spChg>
      </pc:sldChg>
      <pc:sldChg chg="addSp delSp modSp new mod">
        <pc:chgData name="Justine Zayhowski" userId="2377d393-ab0f-4e66-8672-ed1beebcd407" providerId="ADAL" clId="{09ACE924-E4DA-4D29-8218-7C062EE57CC5}" dt="2021-03-07T11:48:55.359" v="9293" actId="20577"/>
        <pc:sldMkLst>
          <pc:docMk/>
          <pc:sldMk cId="4210104964" sldId="4095"/>
        </pc:sldMkLst>
        <pc:spChg chg="mod">
          <ac:chgData name="Justine Zayhowski" userId="2377d393-ab0f-4e66-8672-ed1beebcd407" providerId="ADAL" clId="{09ACE924-E4DA-4D29-8218-7C062EE57CC5}" dt="2021-03-07T11:48:55.359" v="9293" actId="20577"/>
          <ac:spMkLst>
            <pc:docMk/>
            <pc:sldMk cId="4210104964" sldId="4095"/>
            <ac:spMk id="2" creationId="{33AFF1C1-278A-4069-BDE8-EB3DFF71687F}"/>
          </ac:spMkLst>
        </pc:spChg>
        <pc:spChg chg="del">
          <ac:chgData name="Justine Zayhowski" userId="2377d393-ab0f-4e66-8672-ed1beebcd407" providerId="ADAL" clId="{09ACE924-E4DA-4D29-8218-7C062EE57CC5}" dt="2021-03-07T11:48:43.887" v="9268" actId="478"/>
          <ac:spMkLst>
            <pc:docMk/>
            <pc:sldMk cId="4210104964" sldId="4095"/>
            <ac:spMk id="3" creationId="{FA71AAA5-C526-406B-953C-9F1FFBB1A98B}"/>
          </ac:spMkLst>
        </pc:spChg>
        <pc:picChg chg="add mod">
          <ac:chgData name="Justine Zayhowski" userId="2377d393-ab0f-4e66-8672-ed1beebcd407" providerId="ADAL" clId="{09ACE924-E4DA-4D29-8218-7C062EE57CC5}" dt="2021-03-07T11:48:50.635" v="9271" actId="14100"/>
          <ac:picMkLst>
            <pc:docMk/>
            <pc:sldMk cId="4210104964" sldId="4095"/>
            <ac:picMk id="4" creationId="{8C252278-6311-4E65-B1AB-05157B5B4B47}"/>
          </ac:picMkLst>
        </pc:picChg>
      </pc:sldChg>
      <pc:sldChg chg="addSp delSp modSp new mod">
        <pc:chgData name="Justine Zayhowski" userId="2377d393-ab0f-4e66-8672-ed1beebcd407" providerId="ADAL" clId="{09ACE924-E4DA-4D29-8218-7C062EE57CC5}" dt="2021-03-07T11:49:12.449" v="9299" actId="14100"/>
        <pc:sldMkLst>
          <pc:docMk/>
          <pc:sldMk cId="1970271636" sldId="4096"/>
        </pc:sldMkLst>
        <pc:spChg chg="mod">
          <ac:chgData name="Justine Zayhowski" userId="2377d393-ab0f-4e66-8672-ed1beebcd407" providerId="ADAL" clId="{09ACE924-E4DA-4D29-8218-7C062EE57CC5}" dt="2021-03-07T11:49:04.278" v="9295"/>
          <ac:spMkLst>
            <pc:docMk/>
            <pc:sldMk cId="1970271636" sldId="4096"/>
            <ac:spMk id="2" creationId="{CDF3E082-304B-4ACD-863A-7C0EEAC4B593}"/>
          </ac:spMkLst>
        </pc:spChg>
        <pc:spChg chg="del">
          <ac:chgData name="Justine Zayhowski" userId="2377d393-ab0f-4e66-8672-ed1beebcd407" providerId="ADAL" clId="{09ACE924-E4DA-4D29-8218-7C062EE57CC5}" dt="2021-03-07T11:49:08.167" v="9296" actId="478"/>
          <ac:spMkLst>
            <pc:docMk/>
            <pc:sldMk cId="1970271636" sldId="4096"/>
            <ac:spMk id="3" creationId="{25D332F7-5030-48B7-864B-A89B6466830A}"/>
          </ac:spMkLst>
        </pc:spChg>
        <pc:picChg chg="add mod">
          <ac:chgData name="Justine Zayhowski" userId="2377d393-ab0f-4e66-8672-ed1beebcd407" providerId="ADAL" clId="{09ACE924-E4DA-4D29-8218-7C062EE57CC5}" dt="2021-03-07T11:49:12.449" v="9299" actId="14100"/>
          <ac:picMkLst>
            <pc:docMk/>
            <pc:sldMk cId="1970271636" sldId="4096"/>
            <ac:picMk id="4" creationId="{C0B13729-283E-4F05-AA1F-E978CC6A3C7F}"/>
          </ac:picMkLst>
        </pc:picChg>
      </pc:sldChg>
      <pc:sldChg chg="addSp modSp new mod">
        <pc:chgData name="Justine Zayhowski" userId="2377d393-ab0f-4e66-8672-ed1beebcd407" providerId="ADAL" clId="{09ACE924-E4DA-4D29-8218-7C062EE57CC5}" dt="2021-03-07T11:49:29.222" v="9324" actId="20577"/>
        <pc:sldMkLst>
          <pc:docMk/>
          <pc:sldMk cId="376238641" sldId="4097"/>
        </pc:sldMkLst>
        <pc:spChg chg="mod">
          <ac:chgData name="Justine Zayhowski" userId="2377d393-ab0f-4e66-8672-ed1beebcd407" providerId="ADAL" clId="{09ACE924-E4DA-4D29-8218-7C062EE57CC5}" dt="2021-03-07T11:49:29.222" v="9324" actId="20577"/>
          <ac:spMkLst>
            <pc:docMk/>
            <pc:sldMk cId="376238641" sldId="4097"/>
            <ac:spMk id="2" creationId="{CE8E178E-2305-456B-B83A-A4945353F908}"/>
          </ac:spMkLst>
        </pc:spChg>
        <pc:picChg chg="add mod">
          <ac:chgData name="Justine Zayhowski" userId="2377d393-ab0f-4e66-8672-ed1beebcd407" providerId="ADAL" clId="{09ACE924-E4DA-4D29-8218-7C062EE57CC5}" dt="2021-03-07T11:49:24.869" v="9302" actId="1076"/>
          <ac:picMkLst>
            <pc:docMk/>
            <pc:sldMk cId="376238641" sldId="4097"/>
            <ac:picMk id="4" creationId="{9668EEA7-A4F9-4FDD-B108-E06C07738AC2}"/>
          </ac:picMkLst>
        </pc:picChg>
      </pc:sldChg>
      <pc:sldChg chg="modSp new mod modAnim">
        <pc:chgData name="Justine Zayhowski" userId="2377d393-ab0f-4e66-8672-ed1beebcd407" providerId="ADAL" clId="{09ACE924-E4DA-4D29-8218-7C062EE57CC5}" dt="2021-03-08T18:47:45.558" v="12192" actId="207"/>
        <pc:sldMkLst>
          <pc:docMk/>
          <pc:sldMk cId="426018858" sldId="4098"/>
        </pc:sldMkLst>
        <pc:spChg chg="mod">
          <ac:chgData name="Justine Zayhowski" userId="2377d393-ab0f-4e66-8672-ed1beebcd407" providerId="ADAL" clId="{09ACE924-E4DA-4D29-8218-7C062EE57CC5}" dt="2021-03-07T11:49:52.091" v="9332"/>
          <ac:spMkLst>
            <pc:docMk/>
            <pc:sldMk cId="426018858" sldId="4098"/>
            <ac:spMk id="2" creationId="{2D45676D-56A7-42FC-84A9-CBF42723CB87}"/>
          </ac:spMkLst>
        </pc:spChg>
        <pc:spChg chg="mod">
          <ac:chgData name="Justine Zayhowski" userId="2377d393-ab0f-4e66-8672-ed1beebcd407" providerId="ADAL" clId="{09ACE924-E4DA-4D29-8218-7C062EE57CC5}" dt="2021-03-08T18:47:45.558" v="12192" actId="207"/>
          <ac:spMkLst>
            <pc:docMk/>
            <pc:sldMk cId="426018858" sldId="4098"/>
            <ac:spMk id="3" creationId="{4F002E3A-FCA0-4435-AFDE-6B69FC226C23}"/>
          </ac:spMkLst>
        </pc:spChg>
      </pc:sldChg>
      <pc:sldChg chg="modSp new mod">
        <pc:chgData name="Justine Zayhowski" userId="2377d393-ab0f-4e66-8672-ed1beebcd407" providerId="ADAL" clId="{09ACE924-E4DA-4D29-8218-7C062EE57CC5}" dt="2021-03-09T13:35:25.643" v="13191" actId="1035"/>
        <pc:sldMkLst>
          <pc:docMk/>
          <pc:sldMk cId="2021496966" sldId="4099"/>
        </pc:sldMkLst>
        <pc:spChg chg="mod">
          <ac:chgData name="Justine Zayhowski" userId="2377d393-ab0f-4e66-8672-ed1beebcd407" providerId="ADAL" clId="{09ACE924-E4DA-4D29-8218-7C062EE57CC5}" dt="2021-03-07T11:50:49.779" v="9371"/>
          <ac:spMkLst>
            <pc:docMk/>
            <pc:sldMk cId="2021496966" sldId="4099"/>
            <ac:spMk id="2" creationId="{CA98B1B7-7590-4DAA-8FA8-EABE6D381633}"/>
          </ac:spMkLst>
        </pc:spChg>
        <pc:spChg chg="mod">
          <ac:chgData name="Justine Zayhowski" userId="2377d393-ab0f-4e66-8672-ed1beebcd407" providerId="ADAL" clId="{09ACE924-E4DA-4D29-8218-7C062EE57CC5}" dt="2021-03-09T13:35:25.643" v="13191" actId="1035"/>
          <ac:spMkLst>
            <pc:docMk/>
            <pc:sldMk cId="2021496966" sldId="4099"/>
            <ac:spMk id="3" creationId="{8D4B2B78-AB15-466E-A6D5-FE9C8BA4BF26}"/>
          </ac:spMkLst>
        </pc:spChg>
      </pc:sldChg>
      <pc:sldChg chg="modSp new mod">
        <pc:chgData name="Justine Zayhowski" userId="2377d393-ab0f-4e66-8672-ed1beebcd407" providerId="ADAL" clId="{09ACE924-E4DA-4D29-8218-7C062EE57CC5}" dt="2021-03-07T11:51:14.218" v="9385"/>
        <pc:sldMkLst>
          <pc:docMk/>
          <pc:sldMk cId="669443259" sldId="4100"/>
        </pc:sldMkLst>
        <pc:spChg chg="mod">
          <ac:chgData name="Justine Zayhowski" userId="2377d393-ab0f-4e66-8672-ed1beebcd407" providerId="ADAL" clId="{09ACE924-E4DA-4D29-8218-7C062EE57CC5}" dt="2021-03-07T11:51:14.218" v="9385"/>
          <ac:spMkLst>
            <pc:docMk/>
            <pc:sldMk cId="669443259" sldId="4100"/>
            <ac:spMk id="2" creationId="{7C7C725E-CAFD-4E35-BA0D-A58A4C563AD4}"/>
          </ac:spMkLst>
        </pc:spChg>
        <pc:spChg chg="mod">
          <ac:chgData name="Justine Zayhowski" userId="2377d393-ab0f-4e66-8672-ed1beebcd407" providerId="ADAL" clId="{09ACE924-E4DA-4D29-8218-7C062EE57CC5}" dt="2021-03-07T11:51:09.069" v="9384"/>
          <ac:spMkLst>
            <pc:docMk/>
            <pc:sldMk cId="669443259" sldId="4100"/>
            <ac:spMk id="3" creationId="{50952A9C-659D-4118-B38A-C7661325361A}"/>
          </ac:spMkLst>
        </pc:spChg>
      </pc:sldChg>
      <pc:sldChg chg="modSp new mod modAnim">
        <pc:chgData name="Justine Zayhowski" userId="2377d393-ab0f-4e66-8672-ed1beebcd407" providerId="ADAL" clId="{09ACE924-E4DA-4D29-8218-7C062EE57CC5}" dt="2021-03-07T11:51:45.728" v="9402"/>
        <pc:sldMkLst>
          <pc:docMk/>
          <pc:sldMk cId="4234518144" sldId="4101"/>
        </pc:sldMkLst>
        <pc:spChg chg="mod">
          <ac:chgData name="Justine Zayhowski" userId="2377d393-ab0f-4e66-8672-ed1beebcd407" providerId="ADAL" clId="{09ACE924-E4DA-4D29-8218-7C062EE57CC5}" dt="2021-03-07T11:51:24.339" v="9387"/>
          <ac:spMkLst>
            <pc:docMk/>
            <pc:sldMk cId="4234518144" sldId="4101"/>
            <ac:spMk id="2" creationId="{9F065AEE-6DA2-4734-BC8C-F528C1D187E7}"/>
          </ac:spMkLst>
        </pc:spChg>
        <pc:spChg chg="mod">
          <ac:chgData name="Justine Zayhowski" userId="2377d393-ab0f-4e66-8672-ed1beebcd407" providerId="ADAL" clId="{09ACE924-E4DA-4D29-8218-7C062EE57CC5}" dt="2021-03-07T11:51:36.118" v="9400" actId="14100"/>
          <ac:spMkLst>
            <pc:docMk/>
            <pc:sldMk cId="4234518144" sldId="4101"/>
            <ac:spMk id="3" creationId="{A4B18751-5999-4242-825E-F8EB2220B7A5}"/>
          </ac:spMkLst>
        </pc:spChg>
      </pc:sldChg>
      <pc:sldChg chg="modSp new mod modAnim">
        <pc:chgData name="Justine Zayhowski" userId="2377d393-ab0f-4e66-8672-ed1beebcd407" providerId="ADAL" clId="{09ACE924-E4DA-4D29-8218-7C062EE57CC5}" dt="2021-03-07T11:52:35.604" v="9412"/>
        <pc:sldMkLst>
          <pc:docMk/>
          <pc:sldMk cId="1355210529" sldId="4102"/>
        </pc:sldMkLst>
        <pc:spChg chg="mod">
          <ac:chgData name="Justine Zayhowski" userId="2377d393-ab0f-4e66-8672-ed1beebcd407" providerId="ADAL" clId="{09ACE924-E4DA-4D29-8218-7C062EE57CC5}" dt="2021-03-07T11:51:59.963" v="9404"/>
          <ac:spMkLst>
            <pc:docMk/>
            <pc:sldMk cId="1355210529" sldId="4102"/>
            <ac:spMk id="2" creationId="{69E4211F-0C01-4EC1-964E-9966E2523F23}"/>
          </ac:spMkLst>
        </pc:spChg>
        <pc:spChg chg="mod">
          <ac:chgData name="Justine Zayhowski" userId="2377d393-ab0f-4e66-8672-ed1beebcd407" providerId="ADAL" clId="{09ACE924-E4DA-4D29-8218-7C062EE57CC5}" dt="2021-03-07T11:52:20.039" v="9409" actId="1076"/>
          <ac:spMkLst>
            <pc:docMk/>
            <pc:sldMk cId="1355210529" sldId="4102"/>
            <ac:spMk id="3" creationId="{1C31389C-7B7F-4C4D-AA2F-63843E0A80FF}"/>
          </ac:spMkLst>
        </pc:spChg>
      </pc:sldChg>
      <pc:sldChg chg="modSp new mod">
        <pc:chgData name="Justine Zayhowski" userId="2377d393-ab0f-4e66-8672-ed1beebcd407" providerId="ADAL" clId="{09ACE924-E4DA-4D29-8218-7C062EE57CC5}" dt="2021-03-09T13:36:14.964" v="13271" actId="5793"/>
        <pc:sldMkLst>
          <pc:docMk/>
          <pc:sldMk cId="2310526402" sldId="4103"/>
        </pc:sldMkLst>
        <pc:spChg chg="mod">
          <ac:chgData name="Justine Zayhowski" userId="2377d393-ab0f-4e66-8672-ed1beebcd407" providerId="ADAL" clId="{09ACE924-E4DA-4D29-8218-7C062EE57CC5}" dt="2021-03-07T11:52:47.603" v="9414"/>
          <ac:spMkLst>
            <pc:docMk/>
            <pc:sldMk cId="2310526402" sldId="4103"/>
            <ac:spMk id="2" creationId="{B07C2FFE-FDFE-49D2-92C4-2C9DB79F047A}"/>
          </ac:spMkLst>
        </pc:spChg>
        <pc:spChg chg="mod">
          <ac:chgData name="Justine Zayhowski" userId="2377d393-ab0f-4e66-8672-ed1beebcd407" providerId="ADAL" clId="{09ACE924-E4DA-4D29-8218-7C062EE57CC5}" dt="2021-03-09T13:36:14.964" v="13271" actId="5793"/>
          <ac:spMkLst>
            <pc:docMk/>
            <pc:sldMk cId="2310526402" sldId="4103"/>
            <ac:spMk id="3" creationId="{067C198B-0D3A-4F3E-B9B0-7017656316BC}"/>
          </ac:spMkLst>
        </pc:spChg>
      </pc:sldChg>
      <pc:sldChg chg="modSp new mod">
        <pc:chgData name="Justine Zayhowski" userId="2377d393-ab0f-4e66-8672-ed1beebcd407" providerId="ADAL" clId="{09ACE924-E4DA-4D29-8218-7C062EE57CC5}" dt="2021-03-17T16:48:50.510" v="18448" actId="20577"/>
        <pc:sldMkLst>
          <pc:docMk/>
          <pc:sldMk cId="2804916555" sldId="4104"/>
        </pc:sldMkLst>
        <pc:spChg chg="mod">
          <ac:chgData name="Justine Zayhowski" userId="2377d393-ab0f-4e66-8672-ed1beebcd407" providerId="ADAL" clId="{09ACE924-E4DA-4D29-8218-7C062EE57CC5}" dt="2021-03-07T12:01:20.530" v="9434"/>
          <ac:spMkLst>
            <pc:docMk/>
            <pc:sldMk cId="2804916555" sldId="4104"/>
            <ac:spMk id="2" creationId="{F7272240-856C-4C28-915E-78E1284A5733}"/>
          </ac:spMkLst>
        </pc:spChg>
        <pc:spChg chg="mod">
          <ac:chgData name="Justine Zayhowski" userId="2377d393-ab0f-4e66-8672-ed1beebcd407" providerId="ADAL" clId="{09ACE924-E4DA-4D29-8218-7C062EE57CC5}" dt="2021-03-17T16:48:50.510" v="18448" actId="20577"/>
          <ac:spMkLst>
            <pc:docMk/>
            <pc:sldMk cId="2804916555" sldId="4104"/>
            <ac:spMk id="3" creationId="{4832C854-FFC0-4D1D-839F-727490605611}"/>
          </ac:spMkLst>
        </pc:spChg>
      </pc:sldChg>
      <pc:sldChg chg="modSp new del mod">
        <pc:chgData name="Justine Zayhowski" userId="2377d393-ab0f-4e66-8672-ed1beebcd407" providerId="ADAL" clId="{09ACE924-E4DA-4D29-8218-7C062EE57CC5}" dt="2021-03-08T18:24:08.003" v="11220" actId="47"/>
        <pc:sldMkLst>
          <pc:docMk/>
          <pc:sldMk cId="3218335456" sldId="4105"/>
        </pc:sldMkLst>
        <pc:spChg chg="mod">
          <ac:chgData name="Justine Zayhowski" userId="2377d393-ab0f-4e66-8672-ed1beebcd407" providerId="ADAL" clId="{09ACE924-E4DA-4D29-8218-7C062EE57CC5}" dt="2021-03-07T12:04:19.555" v="9534" actId="13926"/>
          <ac:spMkLst>
            <pc:docMk/>
            <pc:sldMk cId="3218335456" sldId="4105"/>
            <ac:spMk id="3" creationId="{1BEFD1B2-16AE-4D4E-9AB5-7644984E0CB2}"/>
          </ac:spMkLst>
        </pc:spChg>
      </pc:sldChg>
      <pc:sldChg chg="modSp new del mod">
        <pc:chgData name="Justine Zayhowski" userId="2377d393-ab0f-4e66-8672-ed1beebcd407" providerId="ADAL" clId="{09ACE924-E4DA-4D29-8218-7C062EE57CC5}" dt="2021-03-10T21:09:18.321" v="18260" actId="47"/>
        <pc:sldMkLst>
          <pc:docMk/>
          <pc:sldMk cId="3740503912" sldId="4106"/>
        </pc:sldMkLst>
        <pc:spChg chg="mod">
          <ac:chgData name="Justine Zayhowski" userId="2377d393-ab0f-4e66-8672-ed1beebcd407" providerId="ADAL" clId="{09ACE924-E4DA-4D29-8218-7C062EE57CC5}" dt="2021-03-07T12:04:24.941" v="9552" actId="20577"/>
          <ac:spMkLst>
            <pc:docMk/>
            <pc:sldMk cId="3740503912" sldId="4106"/>
            <ac:spMk id="2" creationId="{F7E7CCDB-BD1C-47B0-BE90-284BE0FEEDEB}"/>
          </ac:spMkLst>
        </pc:spChg>
        <pc:spChg chg="mod">
          <ac:chgData name="Justine Zayhowski" userId="2377d393-ab0f-4e66-8672-ed1beebcd407" providerId="ADAL" clId="{09ACE924-E4DA-4D29-8218-7C062EE57CC5}" dt="2021-03-08T18:21:15.756" v="10868" actId="20577"/>
          <ac:spMkLst>
            <pc:docMk/>
            <pc:sldMk cId="3740503912" sldId="4106"/>
            <ac:spMk id="3" creationId="{045177A7-05C4-4B05-8EBA-6BBD2AD9A832}"/>
          </ac:spMkLst>
        </pc:spChg>
      </pc:sldChg>
      <pc:sldChg chg="modSp add mod">
        <pc:chgData name="Justine Zayhowski" userId="2377d393-ab0f-4e66-8672-ed1beebcd407" providerId="ADAL" clId="{09ACE924-E4DA-4D29-8218-7C062EE57CC5}" dt="2021-03-10T21:10:52.081" v="18352" actId="20577"/>
        <pc:sldMkLst>
          <pc:docMk/>
          <pc:sldMk cId="119044173" sldId="4107"/>
        </pc:sldMkLst>
        <pc:spChg chg="mod">
          <ac:chgData name="Justine Zayhowski" userId="2377d393-ab0f-4e66-8672-ed1beebcd407" providerId="ADAL" clId="{09ACE924-E4DA-4D29-8218-7C062EE57CC5}" dt="2021-03-09T14:27:58.648" v="15286" actId="20577"/>
          <ac:spMkLst>
            <pc:docMk/>
            <pc:sldMk cId="119044173" sldId="4107"/>
            <ac:spMk id="2" creationId="{58F6FD0C-8DF5-4BA6-ACE9-9C287CEBA250}"/>
          </ac:spMkLst>
        </pc:spChg>
        <pc:graphicFrameChg chg="mod modGraphic">
          <ac:chgData name="Justine Zayhowski" userId="2377d393-ab0f-4e66-8672-ed1beebcd407" providerId="ADAL" clId="{09ACE924-E4DA-4D29-8218-7C062EE57CC5}" dt="2021-03-10T21:10:52.081" v="18352" actId="20577"/>
          <ac:graphicFrameMkLst>
            <pc:docMk/>
            <pc:sldMk cId="119044173" sldId="4107"/>
            <ac:graphicFrameMk id="5" creationId="{96EDC3CB-491E-487B-8655-0D1E72ED314F}"/>
          </ac:graphicFrameMkLst>
        </pc:graphicFrameChg>
      </pc:sldChg>
      <pc:sldChg chg="addSp delSp modSp new del mod">
        <pc:chgData name="Justine Zayhowski" userId="2377d393-ab0f-4e66-8672-ed1beebcd407" providerId="ADAL" clId="{09ACE924-E4DA-4D29-8218-7C062EE57CC5}" dt="2021-03-09T13:36:16.118" v="13272" actId="47"/>
        <pc:sldMkLst>
          <pc:docMk/>
          <pc:sldMk cId="1132860338" sldId="4107"/>
        </pc:sldMkLst>
        <pc:spChg chg="mod">
          <ac:chgData name="Justine Zayhowski" userId="2377d393-ab0f-4e66-8672-ed1beebcd407" providerId="ADAL" clId="{09ACE924-E4DA-4D29-8218-7C062EE57CC5}" dt="2021-03-09T13:36:02.104" v="13265"/>
          <ac:spMkLst>
            <pc:docMk/>
            <pc:sldMk cId="1132860338" sldId="4107"/>
            <ac:spMk id="2" creationId="{C954D394-2F81-420B-B5E2-64E73EAF02B9}"/>
          </ac:spMkLst>
        </pc:spChg>
        <pc:spChg chg="mod">
          <ac:chgData name="Justine Zayhowski" userId="2377d393-ab0f-4e66-8672-ed1beebcd407" providerId="ADAL" clId="{09ACE924-E4DA-4D29-8218-7C062EE57CC5}" dt="2021-03-09T13:35:54.948" v="13264" actId="13926"/>
          <ac:spMkLst>
            <pc:docMk/>
            <pc:sldMk cId="1132860338" sldId="4107"/>
            <ac:spMk id="3" creationId="{91BA097E-FB99-4EDF-92A2-1A19EFCBA642}"/>
          </ac:spMkLst>
        </pc:spChg>
        <pc:spChg chg="add del mod">
          <ac:chgData name="Justine Zayhowski" userId="2377d393-ab0f-4e66-8672-ed1beebcd407" providerId="ADAL" clId="{09ACE924-E4DA-4D29-8218-7C062EE57CC5}" dt="2021-03-09T13:35:40.300" v="13193" actId="478"/>
          <ac:spMkLst>
            <pc:docMk/>
            <pc:sldMk cId="1132860338" sldId="4107"/>
            <ac:spMk id="4" creationId="{540E1A70-FF09-4EA6-9496-7A3F079E2E6C}"/>
          </ac:spMkLst>
        </pc:spChg>
      </pc:sldChg>
      <pc:sldChg chg="addSp delSp new del mod">
        <pc:chgData name="Justine Zayhowski" userId="2377d393-ab0f-4e66-8672-ed1beebcd407" providerId="ADAL" clId="{09ACE924-E4DA-4D29-8218-7C062EE57CC5}" dt="2021-03-08T17:34:45.567" v="10205" actId="680"/>
        <pc:sldMkLst>
          <pc:docMk/>
          <pc:sldMk cId="2247674007" sldId="4107"/>
        </pc:sldMkLst>
        <pc:spChg chg="add del">
          <ac:chgData name="Justine Zayhowski" userId="2377d393-ab0f-4e66-8672-ed1beebcd407" providerId="ADAL" clId="{09ACE924-E4DA-4D29-8218-7C062EE57CC5}" dt="2021-03-08T17:34:44.650" v="10204" actId="22"/>
          <ac:spMkLst>
            <pc:docMk/>
            <pc:sldMk cId="2247674007" sldId="4107"/>
            <ac:spMk id="4" creationId="{D98B8C52-72EC-4D2F-8805-3919AE6D624D}"/>
          </ac:spMkLst>
        </pc:spChg>
      </pc:sldChg>
      <pc:sldChg chg="modSp new mod">
        <pc:chgData name="Justine Zayhowski" userId="2377d393-ab0f-4e66-8672-ed1beebcd407" providerId="ADAL" clId="{09ACE924-E4DA-4D29-8218-7C062EE57CC5}" dt="2021-03-09T14:33:16.871" v="15638" actId="20577"/>
        <pc:sldMkLst>
          <pc:docMk/>
          <pc:sldMk cId="1168812470" sldId="4108"/>
        </pc:sldMkLst>
        <pc:spChg chg="mod">
          <ac:chgData name="Justine Zayhowski" userId="2377d393-ab0f-4e66-8672-ed1beebcd407" providerId="ADAL" clId="{09ACE924-E4DA-4D29-8218-7C062EE57CC5}" dt="2021-03-09T14:29:59.782" v="15586" actId="20577"/>
          <ac:spMkLst>
            <pc:docMk/>
            <pc:sldMk cId="1168812470" sldId="4108"/>
            <ac:spMk id="2" creationId="{60526061-BCCD-4A85-846B-DC970B97F4FC}"/>
          </ac:spMkLst>
        </pc:spChg>
        <pc:spChg chg="mod">
          <ac:chgData name="Justine Zayhowski" userId="2377d393-ab0f-4e66-8672-ed1beebcd407" providerId="ADAL" clId="{09ACE924-E4DA-4D29-8218-7C062EE57CC5}" dt="2021-03-09T14:33:16.871" v="15638" actId="20577"/>
          <ac:spMkLst>
            <pc:docMk/>
            <pc:sldMk cId="1168812470" sldId="4108"/>
            <ac:spMk id="3" creationId="{D0E65412-C2A9-493A-A29B-2861F2AED47C}"/>
          </ac:spMkLst>
        </pc:spChg>
      </pc:sldChg>
      <pc:sldChg chg="modSp add mod">
        <pc:chgData name="Justine Zayhowski" userId="2377d393-ab0f-4e66-8672-ed1beebcd407" providerId="ADAL" clId="{09ACE924-E4DA-4D29-8218-7C062EE57CC5}" dt="2021-03-09T14:45:32.193" v="15746" actId="113"/>
        <pc:sldMkLst>
          <pc:docMk/>
          <pc:sldMk cId="3683379017" sldId="4109"/>
        </pc:sldMkLst>
        <pc:spChg chg="mod">
          <ac:chgData name="Justine Zayhowski" userId="2377d393-ab0f-4e66-8672-ed1beebcd407" providerId="ADAL" clId="{09ACE924-E4DA-4D29-8218-7C062EE57CC5}" dt="2021-03-09T14:45:32.193" v="15746" actId="113"/>
          <ac:spMkLst>
            <pc:docMk/>
            <pc:sldMk cId="3683379017" sldId="4109"/>
            <ac:spMk id="3" creationId="{D0E65412-C2A9-493A-A29B-2861F2AED47C}"/>
          </ac:spMkLst>
        </pc:spChg>
      </pc:sldChg>
      <pc:sldChg chg="modSp add mod">
        <pc:chgData name="Justine Zayhowski" userId="2377d393-ab0f-4e66-8672-ed1beebcd407" providerId="ADAL" clId="{09ACE924-E4DA-4D29-8218-7C062EE57CC5}" dt="2021-03-09T15:38:35.024" v="16378" actId="1036"/>
        <pc:sldMkLst>
          <pc:docMk/>
          <pc:sldMk cId="566731374" sldId="4110"/>
        </pc:sldMkLst>
        <pc:graphicFrameChg chg="mod modGraphic">
          <ac:chgData name="Justine Zayhowski" userId="2377d393-ab0f-4e66-8672-ed1beebcd407" providerId="ADAL" clId="{09ACE924-E4DA-4D29-8218-7C062EE57CC5}" dt="2021-03-09T15:38:35.024" v="16378" actId="1036"/>
          <ac:graphicFrameMkLst>
            <pc:docMk/>
            <pc:sldMk cId="566731374" sldId="4110"/>
            <ac:graphicFrameMk id="5" creationId="{96EDC3CB-491E-487B-8655-0D1E72ED314F}"/>
          </ac:graphicFrameMkLst>
        </pc:graphicFrameChg>
      </pc:sldChg>
      <pc:sldChg chg="modSp add mod">
        <pc:chgData name="Justine Zayhowski" userId="2377d393-ab0f-4e66-8672-ed1beebcd407" providerId="ADAL" clId="{09ACE924-E4DA-4D29-8218-7C062EE57CC5}" dt="2021-03-09T15:35:42.915" v="16305" actId="255"/>
        <pc:sldMkLst>
          <pc:docMk/>
          <pc:sldMk cId="1234897451" sldId="4111"/>
        </pc:sldMkLst>
        <pc:spChg chg="mod">
          <ac:chgData name="Justine Zayhowski" userId="2377d393-ab0f-4e66-8672-ed1beebcd407" providerId="ADAL" clId="{09ACE924-E4DA-4D29-8218-7C062EE57CC5}" dt="2021-03-09T15:33:12.882" v="16229" actId="20577"/>
          <ac:spMkLst>
            <pc:docMk/>
            <pc:sldMk cId="1234897451" sldId="4111"/>
            <ac:spMk id="2" creationId="{58F6FD0C-8DF5-4BA6-ACE9-9C287CEBA250}"/>
          </ac:spMkLst>
        </pc:spChg>
        <pc:graphicFrameChg chg="mod modGraphic">
          <ac:chgData name="Justine Zayhowski" userId="2377d393-ab0f-4e66-8672-ed1beebcd407" providerId="ADAL" clId="{09ACE924-E4DA-4D29-8218-7C062EE57CC5}" dt="2021-03-09T15:35:42.915" v="16305" actId="255"/>
          <ac:graphicFrameMkLst>
            <pc:docMk/>
            <pc:sldMk cId="1234897451" sldId="4111"/>
            <ac:graphicFrameMk id="5" creationId="{96EDC3CB-491E-487B-8655-0D1E72ED314F}"/>
          </ac:graphicFrameMkLst>
        </pc:graphicFrameChg>
      </pc:sldChg>
      <pc:sldChg chg="modSp add del mod">
        <pc:chgData name="Justine Zayhowski" userId="2377d393-ab0f-4e66-8672-ed1beebcd407" providerId="ADAL" clId="{09ACE924-E4DA-4D29-8218-7C062EE57CC5}" dt="2021-03-10T21:10:54.158" v="18353" actId="47"/>
        <pc:sldMkLst>
          <pc:docMk/>
          <pc:sldMk cId="3952943687" sldId="4112"/>
        </pc:sldMkLst>
        <pc:graphicFrameChg chg="mod modGraphic">
          <ac:chgData name="Justine Zayhowski" userId="2377d393-ab0f-4e66-8672-ed1beebcd407" providerId="ADAL" clId="{09ACE924-E4DA-4D29-8218-7C062EE57CC5}" dt="2021-03-09T15:37:03.712" v="16346" actId="1035"/>
          <ac:graphicFrameMkLst>
            <pc:docMk/>
            <pc:sldMk cId="3952943687" sldId="4112"/>
            <ac:graphicFrameMk id="5" creationId="{96EDC3CB-491E-487B-8655-0D1E72ED314F}"/>
          </ac:graphicFrameMkLst>
        </pc:graphicFrameChg>
      </pc:sldChg>
      <pc:sldChg chg="delCm">
        <pc:chgData name="Justine Zayhowski" userId="2377d393-ab0f-4e66-8672-ed1beebcd407" providerId="ADAL" clId="{09ACE924-E4DA-4D29-8218-7C062EE57CC5}" dt="2021-03-10T19:06:12.651" v="17795" actId="1592"/>
        <pc:sldMkLst>
          <pc:docMk/>
          <pc:sldMk cId="2234331272" sldId="4114"/>
        </pc:sldMkLst>
      </pc:sldChg>
      <pc:sldMasterChg chg="delSldLayout">
        <pc:chgData name="Justine Zayhowski" userId="2377d393-ab0f-4e66-8672-ed1beebcd407" providerId="ADAL" clId="{09ACE924-E4DA-4D29-8218-7C062EE57CC5}" dt="2021-02-03T15:17:00.031" v="1" actId="47"/>
        <pc:sldMasterMkLst>
          <pc:docMk/>
          <pc:sldMasterMk cId="1838582338" sldId="2147483663"/>
        </pc:sldMasterMkLst>
        <pc:sldLayoutChg chg="del">
          <pc:chgData name="Justine Zayhowski" userId="2377d393-ab0f-4e66-8672-ed1beebcd407" providerId="ADAL" clId="{09ACE924-E4DA-4D29-8218-7C062EE57CC5}" dt="2021-02-03T15:17:00.031" v="1" actId="47"/>
          <pc:sldLayoutMkLst>
            <pc:docMk/>
            <pc:sldMasterMk cId="1838582338" sldId="2147483663"/>
            <pc:sldLayoutMk cId="4263729115" sldId="2147483665"/>
          </pc:sldLayoutMkLst>
        </pc:sldLayoutChg>
        <pc:sldLayoutChg chg="del">
          <pc:chgData name="Justine Zayhowski" userId="2377d393-ab0f-4e66-8672-ed1beebcd407" providerId="ADAL" clId="{09ACE924-E4DA-4D29-8218-7C062EE57CC5}" dt="2021-02-03T15:16:55.575" v="0" actId="47"/>
          <pc:sldLayoutMkLst>
            <pc:docMk/>
            <pc:sldMasterMk cId="1838582338" sldId="2147483663"/>
            <pc:sldLayoutMk cId="341561474" sldId="2147483672"/>
          </pc:sldLayoutMkLst>
        </pc:sldLayoutChg>
        <pc:sldLayoutChg chg="del">
          <pc:chgData name="Justine Zayhowski" userId="2377d393-ab0f-4e66-8672-ed1beebcd407" providerId="ADAL" clId="{09ACE924-E4DA-4D29-8218-7C062EE57CC5}" dt="2021-02-03T15:16:55.575" v="0" actId="47"/>
          <pc:sldLayoutMkLst>
            <pc:docMk/>
            <pc:sldMasterMk cId="1838582338" sldId="2147483663"/>
            <pc:sldLayoutMk cId="2511726403" sldId="2147483673"/>
          </pc:sldLayoutMkLst>
        </pc:sldLayoutChg>
        <pc:sldLayoutChg chg="del">
          <pc:chgData name="Justine Zayhowski" userId="2377d393-ab0f-4e66-8672-ed1beebcd407" providerId="ADAL" clId="{09ACE924-E4DA-4D29-8218-7C062EE57CC5}" dt="2021-02-03T15:16:55.575" v="0" actId="47"/>
          <pc:sldLayoutMkLst>
            <pc:docMk/>
            <pc:sldMasterMk cId="1838582338" sldId="2147483663"/>
            <pc:sldLayoutMk cId="1055777176" sldId="2147483674"/>
          </pc:sldLayoutMkLst>
        </pc:sldLayoutChg>
        <pc:sldLayoutChg chg="del">
          <pc:chgData name="Justine Zayhowski" userId="2377d393-ab0f-4e66-8672-ed1beebcd407" providerId="ADAL" clId="{09ACE924-E4DA-4D29-8218-7C062EE57CC5}" dt="2021-02-03T15:16:55.575" v="0" actId="47"/>
          <pc:sldLayoutMkLst>
            <pc:docMk/>
            <pc:sldMasterMk cId="1838582338" sldId="2147483663"/>
            <pc:sldLayoutMk cId="3550083319" sldId="2147483675"/>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B481253-7591-4523-955E-F80A848495CF}" type="datetimeFigureOut">
              <a:rPr lang="en-US" smtClean="0"/>
              <a:t>3/17/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09DC8BEB-EE67-441D-A873-0468255F46D5}" type="slidenum">
              <a:rPr lang="en-US" smtClean="0"/>
              <a:t>‹#›</a:t>
            </a:fld>
            <a:endParaRPr lang="en-US"/>
          </a:p>
        </p:txBody>
      </p:sp>
    </p:spTree>
    <p:extLst>
      <p:ext uri="{BB962C8B-B14F-4D97-AF65-F5344CB8AC3E}">
        <p14:creationId xmlns:p14="http://schemas.microsoft.com/office/powerpoint/2010/main" val="2609859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E87F2B8-DAB1-4BB7-AA03-13CA34FE8FA5}" type="datetimeFigureOut">
              <a:rPr lang="en-US" smtClean="0"/>
              <a:t>3/17/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9B7833D-D0AA-4DCD-A1FD-49E43A30758C}" type="slidenum">
              <a:rPr lang="en-US" smtClean="0"/>
              <a:t>‹#›</a:t>
            </a:fld>
            <a:endParaRPr lang="en-US"/>
          </a:p>
        </p:txBody>
      </p:sp>
    </p:spTree>
    <p:extLst>
      <p:ext uri="{BB962C8B-B14F-4D97-AF65-F5344CB8AC3E}">
        <p14:creationId xmlns:p14="http://schemas.microsoft.com/office/powerpoint/2010/main" val="2210804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B7833D-D0AA-4DCD-A1FD-49E43A30758C}" type="slidenum">
              <a:rPr lang="en-US" smtClean="0"/>
              <a:t>1</a:t>
            </a:fld>
            <a:endParaRPr lang="en-US"/>
          </a:p>
        </p:txBody>
      </p:sp>
    </p:spTree>
    <p:extLst>
      <p:ext uri="{BB962C8B-B14F-4D97-AF65-F5344CB8AC3E}">
        <p14:creationId xmlns:p14="http://schemas.microsoft.com/office/powerpoint/2010/main" val="1936635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B7833D-D0AA-4DCD-A1FD-49E43A3075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6658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B7833D-D0AA-4DCD-A1FD-49E43A30758C}" type="slidenum">
              <a:rPr lang="en-US" smtClean="0"/>
              <a:t>31</a:t>
            </a:fld>
            <a:endParaRPr lang="en-US" dirty="0"/>
          </a:p>
        </p:txBody>
      </p:sp>
    </p:spTree>
    <p:extLst>
      <p:ext uri="{BB962C8B-B14F-4D97-AF65-F5344CB8AC3E}">
        <p14:creationId xmlns:p14="http://schemas.microsoft.com/office/powerpoint/2010/main" val="17118515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6.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a:t>Click to edit Master title style</a:t>
            </a:r>
          </a:p>
        </p:txBody>
      </p:sp>
      <p:sp>
        <p:nvSpPr>
          <p:cNvPr id="6" name="Content Placeholder 7"/>
          <p:cNvSpPr>
            <a:spLocks noGrp="1"/>
          </p:cNvSpPr>
          <p:nvPr>
            <p:ph sz="half" idx="1"/>
          </p:nvPr>
        </p:nvSpPr>
        <p:spPr>
          <a:xfrm>
            <a:off x="533400" y="1371600"/>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a:t>Edit Master text styles</a:t>
            </a:r>
          </a:p>
          <a:p>
            <a:pPr lvl="1"/>
            <a:r>
              <a:rPr lang="en-US"/>
              <a:t>Second level</a:t>
            </a:r>
          </a:p>
        </p:txBody>
      </p:sp>
      <p:sp>
        <p:nvSpPr>
          <p:cNvPr id="4" name="TextBox 3"/>
          <p:cNvSpPr txBox="1"/>
          <p:nvPr userDrawn="1"/>
        </p:nvSpPr>
        <p:spPr>
          <a:xfrm rot="16200000">
            <a:off x="-2008187" y="2961790"/>
            <a:ext cx="4254500" cy="215444"/>
          </a:xfrm>
          <a:prstGeom prst="rect">
            <a:avLst/>
          </a:prstGeom>
          <a:noFill/>
        </p:spPr>
        <p:txBody>
          <a:bodyPr wrap="square" rtlCol="0">
            <a:spAutoFit/>
          </a:bodyPr>
          <a:lstStyle/>
          <a:p>
            <a:pPr algn="ctr"/>
            <a:r>
              <a:rPr lang="en-US" sz="800" b="0" cap="all" baseline="0"/>
              <a:t>Confidential WORKING draft – policy IN DEVELOPMENT</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bg1"/>
        </a:solidFill>
        <a:effectLst/>
      </p:bgPr>
    </p:bg>
    <p:spTree>
      <p:nvGrpSpPr>
        <p:cNvPr id="1" name=""/>
        <p:cNvGrpSpPr/>
        <p:nvPr/>
      </p:nvGrpSpPr>
      <p:grpSpPr>
        <a:xfrm>
          <a:off x="0" y="0"/>
          <a:ext cx="0" cy="0"/>
          <a:chOff x="0" y="0"/>
          <a:chExt cx="0" cy="0"/>
        </a:xfrm>
      </p:grpSpPr>
      <p:pic>
        <p:nvPicPr>
          <p:cNvPr id="3200002" name="Picture 2" descr="Picture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638" y="-6350"/>
            <a:ext cx="9188451" cy="6864350"/>
          </a:xfrm>
          <a:prstGeom prst="rect">
            <a:avLst/>
          </a:prstGeom>
          <a:noFill/>
          <a:extLst>
            <a:ext uri="{909E8E84-426E-40DD-AFC4-6F175D3DCCD1}">
              <a14:hiddenFill xmlns:a14="http://schemas.microsoft.com/office/drawing/2010/main">
                <a:solidFill>
                  <a:srgbClr val="FFFFFF"/>
                </a:solidFill>
              </a14:hiddenFill>
            </a:ext>
          </a:extLst>
        </p:spPr>
      </p:pic>
      <p:sp>
        <p:nvSpPr>
          <p:cNvPr id="3200003" name="Rectangle 3"/>
          <p:cNvSpPr>
            <a:spLocks noGrp="1" noChangeArrowheads="1"/>
          </p:cNvSpPr>
          <p:nvPr>
            <p:ph type="subTitle" sz="quarter" idx="1"/>
          </p:nvPr>
        </p:nvSpPr>
        <p:spPr>
          <a:xfrm>
            <a:off x="4267201" y="3124200"/>
            <a:ext cx="4667250" cy="1568257"/>
          </a:xfrm>
        </p:spPr>
        <p:txBody>
          <a:bodyPr lIns="91430" tIns="45716" rIns="91430" bIns="45716"/>
          <a:lstStyle>
            <a:lvl1pPr marL="0" indent="0" algn="r">
              <a:defRPr sz="2800">
                <a:solidFill>
                  <a:srgbClr val="003366"/>
                </a:solidFill>
              </a:defRPr>
            </a:lvl1pPr>
            <a:lvl2pPr lvl="1" algn="r">
              <a:defRPr sz="2000">
                <a:solidFill>
                  <a:schemeClr val="tx2"/>
                </a:solidFill>
              </a:defRPr>
            </a:lvl2pPr>
            <a:lvl3pPr lvl="2" algn="r">
              <a:defRPr sz="2000">
                <a:solidFill>
                  <a:schemeClr val="tx2"/>
                </a:solidFill>
              </a:defRPr>
            </a:lvl3pPr>
          </a:lstStyle>
          <a:p>
            <a:pPr lvl="0"/>
            <a:r>
              <a:rPr lang="en-US" noProof="0"/>
              <a:t>Click to edit Master subtitle style</a:t>
            </a:r>
          </a:p>
        </p:txBody>
      </p:sp>
      <p:sp>
        <p:nvSpPr>
          <p:cNvPr id="3200006" name="Rectangle 6"/>
          <p:cNvSpPr>
            <a:spLocks noChangeArrowheads="1"/>
          </p:cNvSpPr>
          <p:nvPr userDrawn="1"/>
        </p:nvSpPr>
        <p:spPr bwMode="white">
          <a:xfrm>
            <a:off x="152400" y="1143000"/>
            <a:ext cx="4495800" cy="2057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nchor="b"/>
          <a:lstStyle/>
          <a:p>
            <a:pPr eaLnBrk="0" fontAlgn="base" hangingPunct="0">
              <a:spcBef>
                <a:spcPct val="20000"/>
              </a:spcBef>
              <a:spcAft>
                <a:spcPct val="0"/>
              </a:spcAft>
              <a:tabLst>
                <a:tab pos="915891" algn="l"/>
              </a:tabLst>
            </a:pPr>
            <a:r>
              <a:rPr lang="en-US" altLang="en-US" sz="2800" b="1">
                <a:solidFill>
                  <a:srgbClr val="F8F8F8"/>
                </a:solidFill>
              </a:rPr>
              <a:t>Commonwealth of Massachusetts</a:t>
            </a:r>
            <a:br>
              <a:rPr lang="en-US" altLang="en-US" sz="2800" b="1">
                <a:solidFill>
                  <a:srgbClr val="F8F8F8"/>
                </a:solidFill>
              </a:rPr>
            </a:br>
            <a:r>
              <a:rPr lang="en-US" altLang="en-US" sz="1900" b="1">
                <a:solidFill>
                  <a:srgbClr val="F8F8F8"/>
                </a:solidFill>
              </a:rPr>
              <a:t>Executive Office of Health and Human Services</a:t>
            </a:r>
            <a:br>
              <a:rPr lang="en-US" altLang="en-US" sz="1900" b="1">
                <a:solidFill>
                  <a:srgbClr val="F8F8F8"/>
                </a:solidFill>
              </a:rPr>
            </a:br>
            <a:br>
              <a:rPr lang="en-US" altLang="en-US" sz="1900" b="1">
                <a:solidFill>
                  <a:srgbClr val="F8F8F8"/>
                </a:solidFill>
              </a:rPr>
            </a:br>
            <a:endParaRPr lang="en-US" sz="2800" b="1">
              <a:solidFill>
                <a:srgbClr val="F8F8F8"/>
              </a:solidFill>
            </a:endParaRPr>
          </a:p>
        </p:txBody>
      </p:sp>
      <p:pic>
        <p:nvPicPr>
          <p:cNvPr id="6" name="Picture 5"/>
          <p:cNvPicPr>
            <a:picLocks noChangeAspect="1"/>
          </p:cNvPicPr>
          <p:nvPr userDrawn="1"/>
        </p:nvPicPr>
        <p:blipFill>
          <a:blip r:embed="rId3"/>
          <a:stretch>
            <a:fillRect/>
          </a:stretch>
        </p:blipFill>
        <p:spPr>
          <a:xfrm>
            <a:off x="7189955" y="457200"/>
            <a:ext cx="1934480" cy="1934480"/>
          </a:xfrm>
          <a:prstGeom prst="rect">
            <a:avLst/>
          </a:prstGeom>
        </p:spPr>
      </p:pic>
    </p:spTree>
    <p:extLst>
      <p:ext uri="{BB962C8B-B14F-4D97-AF65-F5344CB8AC3E}">
        <p14:creationId xmlns:p14="http://schemas.microsoft.com/office/powerpoint/2010/main" val="393489148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8696606"/>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p:nvPr>
        </p:nvSpPr>
        <p:spPr bwMode="auto">
          <a:xfrm>
            <a:off x="2693840" y="2648285"/>
            <a:ext cx="5539245" cy="507831"/>
          </a:xfrm>
          <a:prstGeom prst="rect">
            <a:avLst/>
          </a:prstGeom>
        </p:spPr>
        <p:txBody>
          <a:bodyPr anchor="b">
            <a:spAutoFit/>
          </a:bodyPr>
          <a:lstStyle>
            <a:lvl1pPr>
              <a:defRPr sz="3265"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40" y="3770660"/>
            <a:ext cx="5539245" cy="219820"/>
          </a:xfrm>
        </p:spPr>
        <p:txBody>
          <a:bodyPr>
            <a:spAutoFit/>
          </a:bodyPr>
          <a:lstStyle>
            <a:lvl1pPr>
              <a:defRPr sz="1428"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70" y="2029647"/>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106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20137329"/>
              </p:ext>
            </p:extLst>
          </p:nvPr>
        </p:nvGraphicFramePr>
        <p:xfrm>
          <a:off x="1665" y="1665"/>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65" y="1665"/>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1298"/>
            <a:ext cx="5036085" cy="500502"/>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28">
                  <a:solidFill>
                    <a:srgbClr val="000000"/>
                  </a:solidFill>
                  <a:latin typeface="Arial"/>
                </a:rPr>
                <a:t>Date</a:t>
              </a:r>
            </a:p>
          </p:txBody>
        </p:sp>
      </p:grpSp>
      <p:sp>
        <p:nvSpPr>
          <p:cNvPr id="13314" name="Rectangle 1026"/>
          <p:cNvSpPr>
            <a:spLocks noGrp="1" noChangeArrowheads="1"/>
          </p:cNvSpPr>
          <p:nvPr>
            <p:ph type="ctrTitle" hasCustomPrompt="1"/>
          </p:nvPr>
        </p:nvSpPr>
        <p:spPr bwMode="auto">
          <a:xfrm>
            <a:off x="592295" y="2591192"/>
            <a:ext cx="5539245" cy="507831"/>
          </a:xfrm>
          <a:prstGeom prst="rect">
            <a:avLst/>
          </a:prstGeom>
        </p:spPr>
        <p:txBody>
          <a:bodyPr anchor="b">
            <a:spAutoFit/>
          </a:bodyPr>
          <a:lstStyle>
            <a:lvl1pPr>
              <a:defRPr sz="3265" b="0" baseline="0">
                <a:latin typeface="+mj-lt"/>
                <a:ea typeface="+mj-ea"/>
              </a:defRPr>
            </a:lvl1pPr>
          </a:lstStyle>
          <a:p>
            <a:pPr lvl="0"/>
            <a:r>
              <a:rPr lang="en-US" noProof="0"/>
              <a:t>Title</a:t>
            </a:r>
          </a:p>
        </p:txBody>
      </p:sp>
      <p:sp>
        <p:nvSpPr>
          <p:cNvPr id="12" name="TitleTopPlaceholder"/>
          <p:cNvSpPr>
            <a:spLocks noChangeArrowheads="1"/>
          </p:cNvSpPr>
          <p:nvPr/>
        </p:nvSpPr>
        <p:spPr bwMode="ltGray">
          <a:xfrm>
            <a:off x="2125668" y="3246013"/>
            <a:ext cx="2293946" cy="437329"/>
          </a:xfrm>
          <a:prstGeom prst="rect">
            <a:avLst/>
          </a:prstGeom>
          <a:solidFill>
            <a:schemeClr val="accent4">
              <a:alpha val="77000"/>
            </a:scheme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3" name="TitleTopPlaceholder"/>
          <p:cNvSpPr>
            <a:spLocks noChangeArrowheads="1"/>
          </p:cNvSpPr>
          <p:nvPr/>
        </p:nvSpPr>
        <p:spPr bwMode="ltGray">
          <a:xfrm>
            <a:off x="1" y="3245986"/>
            <a:ext cx="2125653" cy="436455"/>
          </a:xfrm>
          <a:prstGeom prst="rect">
            <a:avLst/>
          </a:prstGeom>
          <a:solidFill>
            <a:srgbClr val="FFC000">
              <a:alpha val="80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sp>
        <p:nvSpPr>
          <p:cNvPr id="14" name="TitleTopPlaceholder"/>
          <p:cNvSpPr>
            <a:spLocks noChangeArrowheads="1"/>
          </p:cNvSpPr>
          <p:nvPr/>
        </p:nvSpPr>
        <p:spPr bwMode="ltGray">
          <a:xfrm>
            <a:off x="3886006" y="3246012"/>
            <a:ext cx="5257994" cy="437331"/>
          </a:xfrm>
          <a:prstGeom prst="rect">
            <a:avLst/>
          </a:prstGeom>
          <a:solidFill>
            <a:srgbClr val="009900">
              <a:alpha val="69000"/>
            </a:srgbClr>
          </a:solidFill>
          <a:ln w="9525">
            <a:noFill/>
            <a:miter lim="800000"/>
            <a:headEnd/>
            <a:tailEnd/>
          </a:ln>
          <a:effectLst/>
        </p:spPr>
        <p:txBody>
          <a:bodyPr wrap="none" lIns="92867" tIns="46437" rIns="92867" bIns="46437" anchor="ctr"/>
          <a:lstStyle/>
          <a:p>
            <a:pPr fontAlgn="base">
              <a:spcBef>
                <a:spcPct val="0"/>
              </a:spcBef>
              <a:spcAft>
                <a:spcPct val="0"/>
              </a:spcAft>
            </a:pPr>
            <a:endParaRPr lang="en-US" sz="1632">
              <a:solidFill>
                <a:srgbClr val="000000"/>
              </a:solidFill>
            </a:endParaRPr>
          </a:p>
        </p:txBody>
      </p:sp>
      <p:pic>
        <p:nvPicPr>
          <p:cNvPr id="16" name="Picture 4" descr="http://upload.wikimedia.org/wikipedia/commons/thumb/8/82/Seal_of_Massachusetts.svg/2000px-Seal_of_Massachusetts.svg.png"/>
          <p:cNvPicPr>
            <a:picLocks noChangeAspect="1" noChangeArrowheads="1"/>
          </p:cNvPicPr>
          <p:nvPr userDrawn="1"/>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033018"/>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975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72826375"/>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4" name="Holder 2"/>
          <p:cNvSpPr>
            <a:spLocks noGrp="1"/>
          </p:cNvSpPr>
          <p:nvPr>
            <p:ph type="title"/>
          </p:nvPr>
        </p:nvSpPr>
        <p:spPr>
          <a:xfrm>
            <a:off x="259090" y="252471"/>
            <a:ext cx="8053675" cy="298327"/>
          </a:xfrm>
        </p:spPr>
        <p:txBody>
          <a:bodyPr lIns="0" tIns="0" rIns="0" bIns="0"/>
          <a:lstStyle/>
          <a:p>
            <a:endParaRPr/>
          </a:p>
        </p:txBody>
      </p:sp>
    </p:spTree>
    <p:extLst>
      <p:ext uri="{BB962C8B-B14F-4D97-AF65-F5344CB8AC3E}">
        <p14:creationId xmlns:p14="http://schemas.microsoft.com/office/powerpoint/2010/main" val="20325503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91901367"/>
              </p:ext>
            </p:extLst>
          </p:nvPr>
        </p:nvGraphicFramePr>
        <p:xfrm>
          <a:off x="1632" y="1632"/>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632" y="1632"/>
                        <a:ext cx="1587" cy="1587"/>
                      </a:xfrm>
                      <a:prstGeom prst="rect">
                        <a:avLst/>
                      </a:prstGeom>
                    </p:spPr>
                  </p:pic>
                </p:oleObj>
              </mc:Fallback>
            </mc:AlternateContent>
          </a:graphicData>
        </a:graphic>
      </p:graphicFrame>
      <p:sp>
        <p:nvSpPr>
          <p:cNvPr id="2" name="Holder 2"/>
          <p:cNvSpPr>
            <a:spLocks noGrp="1"/>
          </p:cNvSpPr>
          <p:nvPr>
            <p:ph type="title"/>
          </p:nvPr>
        </p:nvSpPr>
        <p:spPr/>
        <p:txBody>
          <a:bodyPr lIns="0" tIns="0" rIns="0" bIns="0"/>
          <a:lstStyle/>
          <a:p>
            <a:endParaRPr/>
          </a:p>
        </p:txBody>
      </p:sp>
      <p:sp>
        <p:nvSpPr>
          <p:cNvPr id="5" name="Rectangle 286"/>
          <p:cNvSpPr>
            <a:spLocks noGrp="1" noChangeArrowheads="1"/>
          </p:cNvSpPr>
          <p:nvPr>
            <p:ph idx="10" hasCustomPrompt="1"/>
          </p:nvPr>
        </p:nvSpPr>
        <p:spPr bwMode="auto">
          <a:xfrm>
            <a:off x="259081" y="908025"/>
            <a:ext cx="8077200" cy="12404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290287" indent="-290287">
              <a:spcAft>
                <a:spcPts val="612"/>
              </a:spcAft>
              <a:buFont typeface="Wingdings" panose="05000000000000000000" pitchFamily="2" charset="2"/>
              <a:buChar char="§"/>
              <a:defRPr baseline="0"/>
            </a:lvl1pPr>
            <a:lvl3pPr>
              <a:spcAft>
                <a:spcPts val="612"/>
              </a:spcAft>
              <a:defRPr baseline="0"/>
            </a:lvl3pPr>
            <a:lvl4pPr>
              <a:spcAft>
                <a:spcPts val="612"/>
              </a:spcAft>
              <a:buSzPct val="100000"/>
              <a:defRPr baseline="0"/>
            </a:lvl4pPr>
            <a:lvl5pPr>
              <a:spcAft>
                <a:spcPts val="612"/>
              </a:spcAft>
              <a:defRPr baseline="0"/>
            </a:lvl5pPr>
          </a:lstStyle>
          <a:p>
            <a:pPr lvl="0"/>
            <a:r>
              <a:rPr lang="en-US" noProof="0"/>
              <a:t>First Level</a:t>
            </a:r>
          </a:p>
          <a:p>
            <a:pPr lvl="2"/>
            <a:r>
              <a:rPr lang="en-US" noProof="0"/>
              <a:t>Second Level</a:t>
            </a:r>
          </a:p>
          <a:p>
            <a:pPr lvl="3"/>
            <a:r>
              <a:rPr lang="en-US" noProof="0"/>
              <a:t>Third Level</a:t>
            </a:r>
          </a:p>
          <a:p>
            <a:pPr lvl="4"/>
            <a:r>
              <a:rPr lang="en-US" noProof="0"/>
              <a:t>Fourth Level</a:t>
            </a:r>
          </a:p>
        </p:txBody>
      </p:sp>
    </p:spTree>
    <p:extLst>
      <p:ext uri="{BB962C8B-B14F-4D97-AF65-F5344CB8AC3E}">
        <p14:creationId xmlns:p14="http://schemas.microsoft.com/office/powerpoint/2010/main" val="154862380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3.xml"/><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3.xml"/><Relationship Id="rId6" Type="http://schemas.openxmlformats.org/officeDocument/2006/relationships/theme" Target="../theme/theme2.xml"/><Relationship Id="rId11" Type="http://schemas.openxmlformats.org/officeDocument/2006/relationships/tags" Target="../tags/tag8.xml"/><Relationship Id="rId24" Type="http://schemas.openxmlformats.org/officeDocument/2006/relationships/image" Target="../media/image5.emf"/><Relationship Id="rId5" Type="http://schemas.openxmlformats.org/officeDocument/2006/relationships/slideLayout" Target="../slideLayouts/slideLayout7.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6.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6"/>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a:solidFill>
                <a:srgbClr val="000000"/>
              </a:solidFill>
            </a:endParaRPr>
          </a:p>
        </p:txBody>
      </p:sp>
      <p:pic>
        <p:nvPicPr>
          <p:cNvPr id="1030" name="Picture 6" descr="best ver2b seal"/>
          <p:cNvPicPr>
            <a:picLocks noChangeAspect="1" noChangeArrowheads="1"/>
          </p:cNvPicPr>
          <p:nvPr/>
        </p:nvPicPr>
        <p:blipFill>
          <a:blip r:embed="rId7">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613525"/>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a:solidFill>
                <a:srgbClr val="000000"/>
              </a:solidFill>
            </a:endParaRPr>
          </a:p>
        </p:txBody>
      </p:sp>
      <p:sp>
        <p:nvSpPr>
          <p:cNvPr id="3198987" name="AcnSubjectTitle_ID_3198987" hidden="1"/>
          <p:cNvSpPr txBox="1">
            <a:spLocks noChangeArrowheads="1"/>
          </p:cNvSpPr>
          <p:nvPr>
            <p:custDataLst>
              <p:tags r:id="rId4"/>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a:solidFill>
                  <a:srgbClr val="000000"/>
                </a:solidFill>
              </a:rPr>
              <a:t>Subject Title</a:t>
            </a:r>
          </a:p>
        </p:txBody>
      </p:sp>
      <p:sp>
        <p:nvSpPr>
          <p:cNvPr id="3198988" name="AcnFootnote_ID_3198988" hidden="1"/>
          <p:cNvSpPr txBox="1">
            <a:spLocks noChangeArrowheads="1"/>
          </p:cNvSpPr>
          <p:nvPr>
            <p:custDataLst>
              <p:tags r:id="rId5"/>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a:solidFill>
                  <a:srgbClr val="000000"/>
                </a:solidFill>
              </a:rPr>
              <a:t>*	Footnote</a:t>
            </a:r>
          </a:p>
          <a:p>
            <a:pPr marL="538163" indent="-538163" fontAlgn="base">
              <a:spcBef>
                <a:spcPct val="20000"/>
              </a:spcBef>
              <a:spcAft>
                <a:spcPct val="0"/>
              </a:spcAft>
              <a:buClr>
                <a:srgbClr val="000000"/>
              </a:buClr>
              <a:defRPr/>
            </a:pPr>
            <a:r>
              <a:rPr lang="en-US" sz="100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4" r:id="rId1"/>
    <p:sldLayoutId id="2147483672" r:id="rId2"/>
  </p:sldLayoutIdLst>
  <p:transition/>
  <p:txStyles>
    <p:titleStyle>
      <a:lvl1pPr algn="l" rtl="0" eaLnBrk="1" fontAlgn="base" hangingPunct="1">
        <a:spcBef>
          <a:spcPct val="20000"/>
        </a:spcBef>
        <a:spcAft>
          <a:spcPct val="0"/>
        </a:spcAft>
        <a:tabLst>
          <a:tab pos="915988" algn="l"/>
        </a:tabLst>
        <a:defRPr sz="2400" b="1">
          <a:solidFill>
            <a:srgbClr val="FFC000"/>
          </a:solidFill>
          <a:latin typeface="+mj-lt"/>
          <a:ea typeface="+mj-ea"/>
          <a:cs typeface="+mj-cs"/>
        </a:defRPr>
      </a:lvl1pPr>
      <a:lvl2pPr algn="l" rtl="0" eaLnBrk="1" fontAlgn="base" hangingPunct="1">
        <a:spcBef>
          <a:spcPct val="20000"/>
        </a:spcBef>
        <a:spcAft>
          <a:spcPct val="0"/>
        </a:spcAft>
        <a:tabLst>
          <a:tab pos="915988" algn="l"/>
        </a:tabLst>
        <a:defRPr sz="2400" b="1">
          <a:solidFill>
            <a:srgbClr val="FFC000"/>
          </a:solidFill>
          <a:latin typeface="Arial" pitchFamily="34" charset="0"/>
        </a:defRPr>
      </a:lvl2pPr>
      <a:lvl3pPr algn="l" rtl="0" eaLnBrk="1" fontAlgn="base" hangingPunct="1">
        <a:spcBef>
          <a:spcPct val="20000"/>
        </a:spcBef>
        <a:spcAft>
          <a:spcPct val="0"/>
        </a:spcAft>
        <a:tabLst>
          <a:tab pos="915988" algn="l"/>
        </a:tabLst>
        <a:defRPr sz="2400" b="1">
          <a:solidFill>
            <a:srgbClr val="FFC000"/>
          </a:solidFill>
          <a:latin typeface="Arial" pitchFamily="34" charset="0"/>
        </a:defRPr>
      </a:lvl3pPr>
      <a:lvl4pPr algn="l" rtl="0" eaLnBrk="1" fontAlgn="base" hangingPunct="1">
        <a:spcBef>
          <a:spcPct val="20000"/>
        </a:spcBef>
        <a:spcAft>
          <a:spcPct val="0"/>
        </a:spcAft>
        <a:tabLst>
          <a:tab pos="915988" algn="l"/>
        </a:tabLst>
        <a:defRPr sz="2400" b="1">
          <a:solidFill>
            <a:srgbClr val="FFC000"/>
          </a:solidFill>
          <a:latin typeface="Arial" pitchFamily="34" charset="0"/>
        </a:defRPr>
      </a:lvl4pPr>
      <a:lvl5pPr algn="l" rtl="0" eaLnBrk="1" fontAlgn="base" hangingPunct="1">
        <a:spcBef>
          <a:spcPct val="20000"/>
        </a:spcBef>
        <a:spcAft>
          <a:spcPct val="0"/>
        </a:spcAft>
        <a:tabLst>
          <a:tab pos="915988" algn="l"/>
        </a:tabLst>
        <a:defRPr sz="2400" b="1">
          <a:solidFill>
            <a:srgbClr val="FFC000"/>
          </a:solidFill>
          <a:latin typeface="Arial" pitchFamily="34" charset="0"/>
        </a:defRPr>
      </a:lvl5pPr>
      <a:lvl6pPr marL="457200" algn="l" rtl="0" eaLnBrk="1" fontAlgn="base" hangingPunct="1">
        <a:spcBef>
          <a:spcPct val="20000"/>
        </a:spcBef>
        <a:spcAft>
          <a:spcPct val="0"/>
        </a:spcAft>
        <a:tabLst>
          <a:tab pos="915988" algn="l"/>
        </a:tabLst>
        <a:defRPr sz="2400" b="1">
          <a:solidFill>
            <a:schemeClr val="accent1"/>
          </a:solidFill>
          <a:latin typeface="Arial" pitchFamily="34" charset="0"/>
        </a:defRPr>
      </a:lvl6pPr>
      <a:lvl7pPr marL="914400" algn="l" rtl="0" eaLnBrk="1" fontAlgn="base" hangingPunct="1">
        <a:spcBef>
          <a:spcPct val="20000"/>
        </a:spcBef>
        <a:spcAft>
          <a:spcPct val="0"/>
        </a:spcAft>
        <a:tabLst>
          <a:tab pos="915988" algn="l"/>
        </a:tabLst>
        <a:defRPr sz="2400" b="1">
          <a:solidFill>
            <a:schemeClr val="accent1"/>
          </a:solidFill>
          <a:latin typeface="Arial" pitchFamily="34" charset="0"/>
        </a:defRPr>
      </a:lvl7pPr>
      <a:lvl8pPr marL="1371600" algn="l" rtl="0" eaLnBrk="1" fontAlgn="base" hangingPunct="1">
        <a:spcBef>
          <a:spcPct val="20000"/>
        </a:spcBef>
        <a:spcAft>
          <a:spcPct val="0"/>
        </a:spcAft>
        <a:tabLst>
          <a:tab pos="915988" algn="l"/>
        </a:tabLst>
        <a:defRPr sz="2400" b="1">
          <a:solidFill>
            <a:schemeClr val="accent1"/>
          </a:solidFill>
          <a:latin typeface="Arial" pitchFamily="34" charset="0"/>
        </a:defRPr>
      </a:lvl8pPr>
      <a:lvl9pPr marL="1828800" algn="l" rtl="0" eaLnBrk="1" fontAlgn="base" hangingPunct="1">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1" fontAlgn="base" hangingPunct="1">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1" fontAlgn="base" hangingPunct="1">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737875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2" y="6565686"/>
            <a:ext cx="9162288" cy="301752"/>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32">
                <a:solidFill>
                  <a:srgbClr val="000000"/>
                </a:solidFill>
              </a:endParaRPr>
            </a:p>
          </p:txBody>
        </p:sp>
      </p:grpSp>
      <p:sp>
        <p:nvSpPr>
          <p:cNvPr id="1036" name="Rectangle 286"/>
          <p:cNvSpPr>
            <a:spLocks noGrp="1" noChangeArrowheads="1"/>
          </p:cNvSpPr>
          <p:nvPr>
            <p:ph type="body" idx="1"/>
          </p:nvPr>
        </p:nvSpPr>
        <p:spPr bwMode="auto">
          <a:xfrm>
            <a:off x="1482160" y="1990681"/>
            <a:ext cx="4389768" cy="15701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59090" y="25247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9470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28">
                <a:solidFill>
                  <a:srgbClr val="808080"/>
                </a:solidFill>
              </a:rPr>
              <a:t>TRACKER</a:t>
            </a:r>
          </a:p>
        </p:txBody>
      </p:sp>
      <p:sp>
        <p:nvSpPr>
          <p:cNvPr id="11" name="McK 3. Unit of measure" hidden="1"/>
          <p:cNvSpPr txBox="1">
            <a:spLocks noChangeArrowheads="1"/>
          </p:cNvSpPr>
          <p:nvPr/>
        </p:nvSpPr>
        <p:spPr bwMode="auto">
          <a:xfrm>
            <a:off x="174944" y="542633"/>
            <a:ext cx="805367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32">
                <a:solidFill>
                  <a:srgbClr val="808080"/>
                </a:solidFill>
                <a:latin typeface="Arial"/>
              </a:rPr>
              <a:t>Unit of measure</a:t>
            </a:r>
          </a:p>
        </p:txBody>
      </p:sp>
      <p:grpSp>
        <p:nvGrpSpPr>
          <p:cNvPr id="12" name="McK Slide Elements" hidden="1"/>
          <p:cNvGrpSpPr>
            <a:grpSpLocks/>
          </p:cNvGrpSpPr>
          <p:nvPr/>
        </p:nvGrpSpPr>
        <p:grpSpPr bwMode="auto">
          <a:xfrm>
            <a:off x="174965" y="6083194"/>
            <a:ext cx="8799129" cy="416275"/>
            <a:chOff x="75" y="3893"/>
            <a:chExt cx="689" cy="257"/>
          </a:xfrm>
        </p:grpSpPr>
        <p:sp>
          <p:nvSpPr>
            <p:cNvPr id="13" name="McK 4. Footnote"/>
            <p:cNvSpPr txBox="1">
              <a:spLocks noChangeArrowheads="1"/>
            </p:cNvSpPr>
            <p:nvPr/>
          </p:nvSpPr>
          <p:spPr bwMode="auto">
            <a:xfrm>
              <a:off x="75" y="3893"/>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20">
                  <a:solidFill>
                    <a:srgbClr val="000000"/>
                  </a:solidFill>
                  <a:latin typeface="Arial"/>
                </a:rPr>
                <a:t>1 Footnote</a:t>
              </a:r>
            </a:p>
          </p:txBody>
        </p:sp>
        <p:sp>
          <p:nvSpPr>
            <p:cNvPr id="14" name="McK 5. Source"/>
            <p:cNvSpPr>
              <a:spLocks noChangeArrowheads="1"/>
            </p:cNvSpPr>
            <p:nvPr/>
          </p:nvSpPr>
          <p:spPr bwMode="auto">
            <a:xfrm>
              <a:off x="75" y="4051"/>
              <a:ext cx="689"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19148" indent="-619148" defTabSz="909370" fontAlgn="base">
                <a:spcBef>
                  <a:spcPct val="0"/>
                </a:spcBef>
                <a:spcAft>
                  <a:spcPct val="0"/>
                </a:spcAft>
                <a:tabLst>
                  <a:tab pos="622369" algn="l"/>
                </a:tabLst>
              </a:pPr>
              <a:r>
                <a:rPr lang="en-US" sz="1020">
                  <a:solidFill>
                    <a:srgbClr val="000000"/>
                  </a:solidFill>
                </a:rPr>
                <a:t>SOURCE: Source</a:t>
              </a:r>
            </a:p>
          </p:txBody>
        </p:sp>
      </p:grpSp>
      <p:grpSp>
        <p:nvGrpSpPr>
          <p:cNvPr id="15" name="ACET" hidden="1"/>
          <p:cNvGrpSpPr>
            <a:grpSpLocks/>
          </p:cNvGrpSpPr>
          <p:nvPr/>
        </p:nvGrpSpPr>
        <p:grpSpPr bwMode="auto">
          <a:xfrm>
            <a:off x="1482165" y="1137061"/>
            <a:ext cx="4350892" cy="531276"/>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32" b="1">
                  <a:solidFill>
                    <a:srgbClr val="000000"/>
                  </a:solidFill>
                </a:rPr>
                <a:t>Title</a:t>
              </a:r>
            </a:p>
            <a:p>
              <a:pPr fontAlgn="base">
                <a:spcBef>
                  <a:spcPct val="0"/>
                </a:spcBef>
                <a:spcAft>
                  <a:spcPct val="0"/>
                </a:spcAft>
              </a:pPr>
              <a:r>
                <a:rPr lang="en-US" sz="1632">
                  <a:solidFill>
                    <a:srgbClr val="808080"/>
                  </a:solidFill>
                </a:rPr>
                <a:t>Unit of measure</a:t>
              </a:r>
            </a:p>
          </p:txBody>
        </p:sp>
      </p:grpSp>
      <p:grpSp>
        <p:nvGrpSpPr>
          <p:cNvPr id="63" name="LegendBoxes" hidden="1"/>
          <p:cNvGrpSpPr>
            <a:grpSpLocks/>
          </p:cNvGrpSpPr>
          <p:nvPr/>
        </p:nvGrpSpPr>
        <p:grpSpPr bwMode="auto">
          <a:xfrm>
            <a:off x="7449477" y="275481"/>
            <a:ext cx="788863" cy="1022061"/>
            <a:chOff x="4936" y="176"/>
            <a:chExt cx="487" cy="631"/>
          </a:xfrm>
        </p:grpSpPr>
        <p:sp>
          <p:nvSpPr>
            <p:cNvPr id="64" name="Legend1"/>
            <p:cNvSpPr>
              <a:spLocks noChangeArrowheads="1"/>
            </p:cNvSpPr>
            <p:nvPr/>
          </p:nvSpPr>
          <p:spPr bwMode="auto">
            <a:xfrm>
              <a:off x="5096"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6" name="Legend2"/>
            <p:cNvSpPr>
              <a:spLocks noChangeArrowheads="1"/>
            </p:cNvSpPr>
            <p:nvPr/>
          </p:nvSpPr>
          <p:spPr bwMode="auto">
            <a:xfrm>
              <a:off x="5096" y="34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68" name="Legend3"/>
            <p:cNvSpPr>
              <a:spLocks noChangeArrowheads="1"/>
            </p:cNvSpPr>
            <p:nvPr/>
          </p:nvSpPr>
          <p:spPr bwMode="auto">
            <a:xfrm>
              <a:off x="5096" y="517"/>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70" name="Legend4"/>
            <p:cNvSpPr>
              <a:spLocks noChangeArrowheads="1"/>
            </p:cNvSpPr>
            <p:nvPr/>
          </p:nvSpPr>
          <p:spPr bwMode="auto">
            <a:xfrm>
              <a:off x="5096" y="688"/>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72" name="LegendLines" hidden="1"/>
          <p:cNvGrpSpPr>
            <a:grpSpLocks/>
          </p:cNvGrpSpPr>
          <p:nvPr/>
        </p:nvGrpSpPr>
        <p:grpSpPr bwMode="auto">
          <a:xfrm>
            <a:off x="7135270" y="275459"/>
            <a:ext cx="1103112" cy="749943"/>
            <a:chOff x="4750" y="176"/>
            <a:chExt cx="681" cy="463"/>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24">
                <a:solidFill>
                  <a:srgbClr val="000000"/>
                </a:solidFill>
              </a:endParaRPr>
            </a:p>
          </p:txBody>
        </p:sp>
        <p:sp>
          <p:nvSpPr>
            <p:cNvPr id="76" name="Legend1"/>
            <p:cNvSpPr>
              <a:spLocks noChangeArrowheads="1"/>
            </p:cNvSpPr>
            <p:nvPr/>
          </p:nvSpPr>
          <p:spPr bwMode="auto">
            <a:xfrm>
              <a:off x="5104" y="176"/>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7" name="Legend2"/>
            <p:cNvSpPr>
              <a:spLocks noChangeArrowheads="1"/>
            </p:cNvSpPr>
            <p:nvPr/>
          </p:nvSpPr>
          <p:spPr bwMode="auto">
            <a:xfrm>
              <a:off x="5104" y="344"/>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78" name="Legend3"/>
            <p:cNvSpPr>
              <a:spLocks noChangeArrowheads="1"/>
            </p:cNvSpPr>
            <p:nvPr/>
          </p:nvSpPr>
          <p:spPr bwMode="auto">
            <a:xfrm>
              <a:off x="5104" y="520"/>
              <a:ext cx="327"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grpSp>
        <p:nvGrpSpPr>
          <p:cNvPr id="79" name="McKSticker" hidden="1"/>
          <p:cNvGrpSpPr/>
          <p:nvPr/>
        </p:nvGrpSpPr>
        <p:grpSpPr bwMode="auto">
          <a:xfrm>
            <a:off x="7118798" y="275439"/>
            <a:ext cx="1109828" cy="220474"/>
            <a:chOff x="7653105" y="285750"/>
            <a:chExt cx="1087670" cy="216085"/>
          </a:xfrm>
        </p:grpSpPr>
        <p:sp>
          <p:nvSpPr>
            <p:cNvPr id="80" name="StickerRectangle"/>
            <p:cNvSpPr>
              <a:spLocks noChangeArrowheads="1"/>
            </p:cNvSpPr>
            <p:nvPr/>
          </p:nvSpPr>
          <p:spPr bwMode="auto">
            <a:xfrm>
              <a:off x="7653105" y="285750"/>
              <a:ext cx="1087670"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09466" fontAlgn="base">
                <a:spcBef>
                  <a:spcPct val="0"/>
                </a:spcBef>
                <a:spcAft>
                  <a:spcPct val="0"/>
                </a:spcAft>
                <a:buClr>
                  <a:srgbClr val="000000"/>
                </a:buClr>
              </a:pPr>
              <a:r>
                <a:rPr lang="en-US" sz="1224">
                  <a:solidFill>
                    <a:srgbClr val="808080"/>
                  </a:solidFill>
                </a:rPr>
                <a:t>PRELIMINARY</a:t>
              </a:r>
            </a:p>
          </p:txBody>
        </p:sp>
        <p:cxnSp>
          <p:nvCxnSpPr>
            <p:cNvPr id="81" name="AutoShape 31"/>
            <p:cNvCxnSpPr>
              <a:cxnSpLocks noChangeShapeType="1"/>
              <a:stCxn id="80" idx="2"/>
              <a:endCxn id="80" idx="4"/>
            </p:cNvCxnSpPr>
            <p:nvPr/>
          </p:nvCxnSpPr>
          <p:spPr bwMode="auto">
            <a:xfrm>
              <a:off x="7653105" y="285750"/>
              <a:ext cx="0" cy="2160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53105" y="501835"/>
              <a:ext cx="10876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57161" cy="1333054"/>
            <a:chOff x="6655594" y="273840"/>
            <a:chExt cx="840048"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sp>
          <p:nvSpPr>
            <p:cNvPr id="88" name="Legend1"/>
            <p:cNvSpPr>
              <a:spLocks noChangeArrowheads="1"/>
            </p:cNvSpPr>
            <p:nvPr/>
          </p:nvSpPr>
          <p:spPr bwMode="auto">
            <a:xfrm>
              <a:off x="6976269" y="28654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89" name="Legend2"/>
            <p:cNvSpPr>
              <a:spLocks noChangeArrowheads="1"/>
            </p:cNvSpPr>
            <p:nvPr/>
          </p:nvSpPr>
          <p:spPr bwMode="auto">
            <a:xfrm>
              <a:off x="6976269" y="56117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0" name="Legend3"/>
            <p:cNvSpPr>
              <a:spLocks noChangeArrowheads="1"/>
            </p:cNvSpPr>
            <p:nvPr/>
          </p:nvSpPr>
          <p:spPr bwMode="auto">
            <a:xfrm>
              <a:off x="6976269" y="835817"/>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1" name="Legend4"/>
            <p:cNvSpPr>
              <a:spLocks noChangeArrowheads="1"/>
            </p:cNvSpPr>
            <p:nvPr/>
          </p:nvSpPr>
          <p:spPr bwMode="auto">
            <a:xfrm>
              <a:off x="6976269" y="110728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sp>
          <p:nvSpPr>
            <p:cNvPr id="92" name="Legend5"/>
            <p:cNvSpPr>
              <a:spLocks noChangeArrowheads="1"/>
            </p:cNvSpPr>
            <p:nvPr/>
          </p:nvSpPr>
          <p:spPr bwMode="auto">
            <a:xfrm>
              <a:off x="6976269" y="138350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09466" fontAlgn="base">
                <a:spcBef>
                  <a:spcPct val="0"/>
                </a:spcBef>
                <a:spcAft>
                  <a:spcPct val="0"/>
                </a:spcAft>
                <a:buClr>
                  <a:srgbClr val="000000"/>
                </a:buClr>
              </a:pPr>
              <a:r>
                <a:rPr lang="en-US" sz="1224">
                  <a:solidFill>
                    <a:srgbClr val="000000"/>
                  </a:solidFil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24">
                  <a:solidFill>
                    <a:srgbClr val="000000"/>
                  </a:solidFill>
                </a:endParaRPr>
              </a:p>
            </p:txBody>
          </p:sp>
        </p:grpSp>
      </p:grpSp>
      <p:sp>
        <p:nvSpPr>
          <p:cNvPr id="104" name="Slide Number"/>
          <p:cNvSpPr txBox="1">
            <a:spLocks/>
          </p:cNvSpPr>
          <p:nvPr/>
        </p:nvSpPr>
        <p:spPr bwMode="auto">
          <a:xfrm>
            <a:off x="8807126" y="6631766"/>
            <a:ext cx="161931" cy="16015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20" smtClean="0">
                <a:solidFill>
                  <a:srgbClr val="FFFFFF"/>
                </a:solidFill>
              </a:rPr>
              <a:pPr algn="r" fontAlgn="base">
                <a:spcBef>
                  <a:spcPct val="0"/>
                </a:spcBef>
                <a:spcAft>
                  <a:spcPct val="0"/>
                </a:spcAft>
              </a:pPr>
              <a:t>‹#›</a:t>
            </a:fld>
            <a:endParaRPr lang="en-US" sz="1020">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A200752F-0FC0-452E-8D30-39C4B28B39FF}"/>
              </a:ext>
            </a:extLst>
          </p:cNvPr>
          <p:cNvSpPr txBox="1"/>
          <p:nvPr userDrawn="1"/>
        </p:nvSpPr>
        <p:spPr>
          <a:xfrm>
            <a:off x="6092137" y="6385458"/>
            <a:ext cx="311649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 Confidential – for policy development purposes only   |</a:t>
            </a:r>
          </a:p>
        </p:txBody>
      </p:sp>
    </p:spTree>
    <p:extLst>
      <p:ext uri="{BB962C8B-B14F-4D97-AF65-F5344CB8AC3E}">
        <p14:creationId xmlns:p14="http://schemas.microsoft.com/office/powerpoint/2010/main" val="257185683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09370" rtl="0" eaLnBrk="1" fontAlgn="base" hangingPunct="1">
        <a:spcBef>
          <a:spcPct val="0"/>
        </a:spcBef>
        <a:spcAft>
          <a:spcPct val="0"/>
        </a:spcAft>
        <a:tabLst>
          <a:tab pos="274101" algn="l"/>
        </a:tabLst>
        <a:defRPr sz="1939" b="1" baseline="0">
          <a:solidFill>
            <a:schemeClr val="tx2"/>
          </a:solidFill>
          <a:latin typeface="+mj-lt"/>
          <a:ea typeface="+mj-ea"/>
          <a:cs typeface="+mj-cs"/>
        </a:defRPr>
      </a:lvl1pPr>
      <a:lvl2pPr algn="l" defTabSz="909370" rtl="0" eaLnBrk="1" fontAlgn="base" hangingPunct="1">
        <a:spcBef>
          <a:spcPct val="0"/>
        </a:spcBef>
        <a:spcAft>
          <a:spcPct val="0"/>
        </a:spcAft>
        <a:defRPr sz="1939" b="1">
          <a:solidFill>
            <a:schemeClr val="tx2"/>
          </a:solidFill>
          <a:latin typeface="Arial" charset="0"/>
        </a:defRPr>
      </a:lvl2pPr>
      <a:lvl3pPr algn="l" defTabSz="909370" rtl="0" eaLnBrk="1" fontAlgn="base" hangingPunct="1">
        <a:spcBef>
          <a:spcPct val="0"/>
        </a:spcBef>
        <a:spcAft>
          <a:spcPct val="0"/>
        </a:spcAft>
        <a:defRPr sz="1939" b="1">
          <a:solidFill>
            <a:schemeClr val="tx2"/>
          </a:solidFill>
          <a:latin typeface="Arial" charset="0"/>
        </a:defRPr>
      </a:lvl3pPr>
      <a:lvl4pPr algn="l" defTabSz="909370" rtl="0" eaLnBrk="1" fontAlgn="base" hangingPunct="1">
        <a:spcBef>
          <a:spcPct val="0"/>
        </a:spcBef>
        <a:spcAft>
          <a:spcPct val="0"/>
        </a:spcAft>
        <a:defRPr sz="1939" b="1">
          <a:solidFill>
            <a:schemeClr val="tx2"/>
          </a:solidFill>
          <a:latin typeface="Arial" charset="0"/>
        </a:defRPr>
      </a:lvl4pPr>
      <a:lvl5pPr algn="l" defTabSz="909370" rtl="0" eaLnBrk="1" fontAlgn="base" hangingPunct="1">
        <a:spcBef>
          <a:spcPct val="0"/>
        </a:spcBef>
        <a:spcAft>
          <a:spcPct val="0"/>
        </a:spcAft>
        <a:defRPr sz="1939" b="1">
          <a:solidFill>
            <a:schemeClr val="tx2"/>
          </a:solidFill>
          <a:latin typeface="Arial" charset="0"/>
        </a:defRPr>
      </a:lvl5pPr>
      <a:lvl6pPr marL="464331" algn="l" defTabSz="909370" rtl="0" eaLnBrk="1" fontAlgn="base" hangingPunct="1">
        <a:spcBef>
          <a:spcPct val="0"/>
        </a:spcBef>
        <a:spcAft>
          <a:spcPct val="0"/>
        </a:spcAft>
        <a:defRPr sz="1939" b="1">
          <a:solidFill>
            <a:schemeClr val="tx2"/>
          </a:solidFill>
          <a:latin typeface="Arial" charset="0"/>
        </a:defRPr>
      </a:lvl6pPr>
      <a:lvl7pPr marL="928718" algn="l" defTabSz="909370" rtl="0" eaLnBrk="1" fontAlgn="base" hangingPunct="1">
        <a:spcBef>
          <a:spcPct val="0"/>
        </a:spcBef>
        <a:spcAft>
          <a:spcPct val="0"/>
        </a:spcAft>
        <a:defRPr sz="1939" b="1">
          <a:solidFill>
            <a:schemeClr val="tx2"/>
          </a:solidFill>
          <a:latin typeface="Arial" charset="0"/>
        </a:defRPr>
      </a:lvl7pPr>
      <a:lvl8pPr marL="1393081" algn="l" defTabSz="909370" rtl="0" eaLnBrk="1" fontAlgn="base" hangingPunct="1">
        <a:spcBef>
          <a:spcPct val="0"/>
        </a:spcBef>
        <a:spcAft>
          <a:spcPct val="0"/>
        </a:spcAft>
        <a:defRPr sz="1939" b="1">
          <a:solidFill>
            <a:schemeClr val="tx2"/>
          </a:solidFill>
          <a:latin typeface="Arial" charset="0"/>
        </a:defRPr>
      </a:lvl8pPr>
      <a:lvl9pPr marL="1857437" algn="l" defTabSz="909370" rtl="0" eaLnBrk="1" fontAlgn="base" hangingPunct="1">
        <a:spcBef>
          <a:spcPct val="0"/>
        </a:spcBef>
        <a:spcAft>
          <a:spcPct val="0"/>
        </a:spcAft>
        <a:defRPr sz="1939" b="1">
          <a:solidFill>
            <a:schemeClr val="tx2"/>
          </a:solidFill>
          <a:latin typeface="Arial" charset="0"/>
        </a:defRPr>
      </a:lvl9pPr>
    </p:titleStyle>
    <p:bodyStyle>
      <a:lvl1pPr marL="0" indent="0" algn="l" defTabSz="909370" rtl="0" eaLnBrk="1" fontAlgn="base" hangingPunct="1">
        <a:spcBef>
          <a:spcPct val="0"/>
        </a:spcBef>
        <a:spcAft>
          <a:spcPts val="600"/>
        </a:spcAft>
        <a:buClr>
          <a:schemeClr val="tx2"/>
        </a:buClr>
        <a:defRPr sz="1632" baseline="0">
          <a:solidFill>
            <a:schemeClr val="tx1"/>
          </a:solidFill>
          <a:latin typeface="+mn-lt"/>
          <a:ea typeface="+mn-ea"/>
          <a:cs typeface="+mn-cs"/>
        </a:defRPr>
      </a:lvl1pPr>
      <a:lvl2pPr marL="196709" indent="-195099" algn="l" defTabSz="909370" rtl="0" eaLnBrk="1" fontAlgn="base" hangingPunct="1">
        <a:spcBef>
          <a:spcPct val="0"/>
        </a:spcBef>
        <a:spcAft>
          <a:spcPts val="600"/>
        </a:spcAft>
        <a:buClr>
          <a:schemeClr val="tx2"/>
        </a:buClr>
        <a:buSzPct val="125000"/>
        <a:buFont typeface="Arial" charset="0"/>
        <a:buChar char="▪"/>
        <a:defRPr sz="1632" baseline="0">
          <a:solidFill>
            <a:schemeClr val="tx1"/>
          </a:solidFill>
          <a:latin typeface="+mn-lt"/>
        </a:defRPr>
      </a:lvl2pPr>
      <a:lvl3pPr marL="464331" indent="-266041"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3pPr>
      <a:lvl4pPr marL="623983" indent="-158016" algn="l" defTabSz="909370" rtl="0" eaLnBrk="1" fontAlgn="base" hangingPunct="1">
        <a:spcBef>
          <a:spcPct val="0"/>
        </a:spcBef>
        <a:spcAft>
          <a:spcPts val="600"/>
        </a:spcAft>
        <a:buClr>
          <a:schemeClr val="tx2"/>
        </a:buClr>
        <a:buSzPct val="120000"/>
        <a:buFont typeface="Arial" charset="0"/>
        <a:buChar char="▫"/>
        <a:defRPr sz="1632" baseline="0">
          <a:solidFill>
            <a:schemeClr val="tx1"/>
          </a:solidFill>
          <a:latin typeface="+mn-lt"/>
        </a:defRPr>
      </a:lvl4pPr>
      <a:lvl5pPr marL="761551" indent="-132213" algn="l" defTabSz="909370" rtl="0" eaLnBrk="1" fontAlgn="base" hangingPunct="1">
        <a:spcBef>
          <a:spcPct val="0"/>
        </a:spcBef>
        <a:spcAft>
          <a:spcPts val="600"/>
        </a:spcAft>
        <a:buClr>
          <a:schemeClr val="tx2"/>
        </a:buClr>
        <a:buSzPct val="89000"/>
        <a:buFont typeface="Arial" charset="0"/>
        <a:buChar char="-"/>
        <a:defRPr sz="1632" baseline="0">
          <a:solidFill>
            <a:schemeClr val="tx1"/>
          </a:solidFill>
          <a:latin typeface="+mn-lt"/>
        </a:defRPr>
      </a:lvl5pPr>
      <a:lvl6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551" indent="-132213" algn="l" defTabSz="90937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718" rtl="0" eaLnBrk="1" latinLnBrk="0" hangingPunct="1">
        <a:defRPr sz="1837" kern="1200">
          <a:solidFill>
            <a:schemeClr val="tx1"/>
          </a:solidFill>
          <a:latin typeface="+mn-lt"/>
          <a:ea typeface="+mn-ea"/>
          <a:cs typeface="+mn-cs"/>
        </a:defRPr>
      </a:lvl1pPr>
      <a:lvl2pPr marL="464331" algn="l" defTabSz="928718" rtl="0" eaLnBrk="1" latinLnBrk="0" hangingPunct="1">
        <a:defRPr sz="1837" kern="1200">
          <a:solidFill>
            <a:schemeClr val="tx1"/>
          </a:solidFill>
          <a:latin typeface="+mn-lt"/>
          <a:ea typeface="+mn-ea"/>
          <a:cs typeface="+mn-cs"/>
        </a:defRPr>
      </a:lvl2pPr>
      <a:lvl3pPr marL="928718" algn="l" defTabSz="928718" rtl="0" eaLnBrk="1" latinLnBrk="0" hangingPunct="1">
        <a:defRPr sz="1837" kern="1200">
          <a:solidFill>
            <a:schemeClr val="tx1"/>
          </a:solidFill>
          <a:latin typeface="+mn-lt"/>
          <a:ea typeface="+mn-ea"/>
          <a:cs typeface="+mn-cs"/>
        </a:defRPr>
      </a:lvl3pPr>
      <a:lvl4pPr marL="1393081" algn="l" defTabSz="928718" rtl="0" eaLnBrk="1" latinLnBrk="0" hangingPunct="1">
        <a:defRPr sz="1837" kern="1200">
          <a:solidFill>
            <a:schemeClr val="tx1"/>
          </a:solidFill>
          <a:latin typeface="+mn-lt"/>
          <a:ea typeface="+mn-ea"/>
          <a:cs typeface="+mn-cs"/>
        </a:defRPr>
      </a:lvl4pPr>
      <a:lvl5pPr marL="1857437" algn="l" defTabSz="928718" rtl="0" eaLnBrk="1" latinLnBrk="0" hangingPunct="1">
        <a:defRPr sz="1837" kern="1200">
          <a:solidFill>
            <a:schemeClr val="tx1"/>
          </a:solidFill>
          <a:latin typeface="+mn-lt"/>
          <a:ea typeface="+mn-ea"/>
          <a:cs typeface="+mn-cs"/>
        </a:defRPr>
      </a:lvl5pPr>
      <a:lvl6pPr marL="2321798" algn="l" defTabSz="928718" rtl="0" eaLnBrk="1" latinLnBrk="0" hangingPunct="1">
        <a:defRPr sz="1837" kern="1200">
          <a:solidFill>
            <a:schemeClr val="tx1"/>
          </a:solidFill>
          <a:latin typeface="+mn-lt"/>
          <a:ea typeface="+mn-ea"/>
          <a:cs typeface="+mn-cs"/>
        </a:defRPr>
      </a:lvl6pPr>
      <a:lvl7pPr marL="2786156" algn="l" defTabSz="928718" rtl="0" eaLnBrk="1" latinLnBrk="0" hangingPunct="1">
        <a:defRPr sz="1837" kern="1200">
          <a:solidFill>
            <a:schemeClr val="tx1"/>
          </a:solidFill>
          <a:latin typeface="+mn-lt"/>
          <a:ea typeface="+mn-ea"/>
          <a:cs typeface="+mn-cs"/>
        </a:defRPr>
      </a:lvl7pPr>
      <a:lvl8pPr marL="3250517" algn="l" defTabSz="928718" rtl="0" eaLnBrk="1" latinLnBrk="0" hangingPunct="1">
        <a:defRPr sz="1837" kern="1200">
          <a:solidFill>
            <a:schemeClr val="tx1"/>
          </a:solidFill>
          <a:latin typeface="+mn-lt"/>
          <a:ea typeface="+mn-ea"/>
          <a:cs typeface="+mn-cs"/>
        </a:defRPr>
      </a:lvl8pPr>
      <a:lvl9pPr marL="3714878" algn="l" defTabSz="928718" rtl="0" eaLnBrk="1" latinLnBrk="0" hangingPunct="1">
        <a:defRPr sz="183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hyperlink" Target="https://www.oregon.gov/oha/HPA/ANALYTICS/CCOMetrics/2020-2021-specs-(Effective-Contraceptive-Use)-20201230.pdf" TargetMode="Externa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hyperlink" Target="https://www.shvs.org/wp-content/uploads/2020/10/Developing-a-SRF-Screening-Measure_Appendix.pdf" TargetMode="Externa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hyperlink" Target="https://www.ncqa.org/about-ncqa/contact-us/public-comments/hedis-public-comment/" TargetMode="Externa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sz="quarter" idx="1"/>
          </p:nvPr>
        </p:nvSpPr>
        <p:spPr/>
        <p:txBody>
          <a:bodyPr>
            <a:normAutofit/>
          </a:bodyPr>
          <a:lstStyle/>
          <a:p>
            <a:pPr>
              <a:buNone/>
            </a:pPr>
            <a:r>
              <a:rPr lang="en-US" b="1" cap="all" dirty="0"/>
              <a:t>EOHHS Quality Measure alignment taskforce </a:t>
            </a:r>
          </a:p>
          <a:p>
            <a:endParaRPr lang="en-US" dirty="0"/>
          </a:p>
        </p:txBody>
      </p:sp>
      <p:sp>
        <p:nvSpPr>
          <p:cNvPr id="3" name="Text Placeholder 1"/>
          <p:cNvSpPr txBox="1">
            <a:spLocks/>
          </p:cNvSpPr>
          <p:nvPr/>
        </p:nvSpPr>
        <p:spPr>
          <a:xfrm>
            <a:off x="4515416" y="5943600"/>
            <a:ext cx="3923168" cy="533401"/>
          </a:xfrm>
          <a:prstGeom prst="rect">
            <a:avLst/>
          </a:prstGeom>
        </p:spPr>
        <p:txBody>
          <a:bodyPr>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lgn="ctr">
              <a:buNone/>
            </a:pPr>
            <a:r>
              <a:rPr lang="en-US" sz="1600" dirty="0"/>
              <a:t>March 23, 2021</a:t>
            </a:r>
          </a:p>
        </p:txBody>
      </p:sp>
    </p:spTree>
    <p:extLst>
      <p:ext uri="{BB962C8B-B14F-4D97-AF65-F5344CB8AC3E}">
        <p14:creationId xmlns:p14="http://schemas.microsoft.com/office/powerpoint/2010/main" val="1210250860"/>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074E2-5741-4DF1-BFE2-A9A313F33817}"/>
              </a:ext>
            </a:extLst>
          </p:cNvPr>
          <p:cNvSpPr>
            <a:spLocks noGrp="1"/>
          </p:cNvSpPr>
          <p:nvPr>
            <p:ph type="title"/>
          </p:nvPr>
        </p:nvSpPr>
        <p:spPr>
          <a:xfrm>
            <a:off x="736600" y="137674"/>
            <a:ext cx="5664200" cy="762000"/>
          </a:xfrm>
        </p:spPr>
        <p:txBody>
          <a:bodyPr/>
          <a:lstStyle/>
          <a:p>
            <a:r>
              <a:rPr lang="en-US" dirty="0"/>
              <a:t>Effective Contraceptive Care</a:t>
            </a:r>
          </a:p>
        </p:txBody>
      </p:sp>
      <p:sp>
        <p:nvSpPr>
          <p:cNvPr id="3" name="Content Placeholder 2">
            <a:extLst>
              <a:ext uri="{FF2B5EF4-FFF2-40B4-BE49-F238E27FC236}">
                <a16:creationId xmlns:a16="http://schemas.microsoft.com/office/drawing/2014/main" id="{269C9A7D-066C-4B18-8C0D-A8C60ABB883B}"/>
              </a:ext>
            </a:extLst>
          </p:cNvPr>
          <p:cNvSpPr>
            <a:spLocks noGrp="1"/>
          </p:cNvSpPr>
          <p:nvPr>
            <p:ph sz="half" idx="1"/>
          </p:nvPr>
        </p:nvSpPr>
        <p:spPr>
          <a:xfrm>
            <a:off x="420858" y="1118379"/>
            <a:ext cx="8723142" cy="5978772"/>
          </a:xfrm>
        </p:spPr>
        <p:txBody>
          <a:bodyPr/>
          <a:lstStyle/>
          <a:p>
            <a:r>
              <a:rPr lang="en-US" sz="1800" b="0" dirty="0"/>
              <a:t>In February the Taskforce recommended removing Contraceptive Care – Postpartum but expressed interest in ambulatory-based contraceptive measures that could be applied to both the Medicaid and commercial populations.</a:t>
            </a:r>
          </a:p>
          <a:p>
            <a:r>
              <a:rPr lang="en-US" sz="1800" b="0" dirty="0"/>
              <a:t>Taskforce staff committed to sharing an ambulatory contraceptive measure used by Oregon for the Taskforce’s consideration.</a:t>
            </a:r>
          </a:p>
          <a:p>
            <a:r>
              <a:rPr lang="en-US" sz="1800" b="0" dirty="0">
                <a:solidFill>
                  <a:srgbClr val="0070C0"/>
                </a:solidFill>
                <a:hlinkClick r:id="rId2">
                  <a:extLst>
                    <a:ext uri="{A12FA001-AC4F-418D-AE19-62706E023703}">
                      <ahyp:hlinkClr xmlns:ahyp="http://schemas.microsoft.com/office/drawing/2018/hyperlinkcolor" val="tx"/>
                    </a:ext>
                  </a:extLst>
                </a:hlinkClick>
              </a:rPr>
              <a:t>Measure specifications</a:t>
            </a:r>
            <a:r>
              <a:rPr lang="en-US" sz="1800" b="0" u="sng" dirty="0">
                <a:solidFill>
                  <a:srgbClr val="0070C0"/>
                </a:solidFill>
                <a:hlinkClick r:id="rId2">
                  <a:extLst>
                    <a:ext uri="{A12FA001-AC4F-418D-AE19-62706E023703}">
                      <ahyp:hlinkClr xmlns:ahyp="http://schemas.microsoft.com/office/drawing/2018/hyperlinkcolor" val="tx"/>
                    </a:ext>
                  </a:extLst>
                </a:hlinkClick>
              </a:rPr>
              <a:t> </a:t>
            </a:r>
            <a:r>
              <a:rPr lang="en-US" sz="1800" b="0" dirty="0"/>
              <a:t>were distributed to you prior to today’s meeting.</a:t>
            </a:r>
          </a:p>
          <a:p>
            <a:pPr lvl="1">
              <a:spcAft>
                <a:spcPts val="600"/>
              </a:spcAft>
            </a:pPr>
            <a:r>
              <a:rPr lang="en-US" sz="1800" b="0" u="sng" dirty="0"/>
              <a:t>Numerator</a:t>
            </a:r>
            <a:r>
              <a:rPr lang="en-US" sz="1800" b="0" dirty="0"/>
              <a:t>: Women in the denominator with evidence of female sterilization anytime throughout the claims history, or one of the following methods of contraception during the measurement year: IUD, implant, contraception injection, contraceptive pills, patch, ring, or diaphragm.</a:t>
            </a:r>
          </a:p>
          <a:p>
            <a:pPr lvl="1"/>
            <a:r>
              <a:rPr lang="en-US" sz="1800" b="0" u="sng" dirty="0"/>
              <a:t>Denominator</a:t>
            </a:r>
            <a:r>
              <a:rPr lang="en-US" sz="1800" b="0" dirty="0"/>
              <a:t>: All women ages 15-50 as of December 31 of the measurement year who were continuously enrolled in a MCO for the 12-month measurement period. </a:t>
            </a:r>
            <a:r>
              <a:rPr lang="en-US" sz="1800" b="0" i="1" dirty="0"/>
              <a:t>Exclusions outlined in specifications.</a:t>
            </a:r>
          </a:p>
          <a:p>
            <a:r>
              <a:rPr lang="en-US" sz="1800" dirty="0"/>
              <a:t>Does the Taskforce wish to include this measure in the Aligned Measure Set? </a:t>
            </a:r>
          </a:p>
          <a:p>
            <a:endParaRPr lang="en-US" sz="1800" b="0" dirty="0"/>
          </a:p>
          <a:p>
            <a:pPr marL="0" indent="0">
              <a:buNone/>
            </a:pPr>
            <a:endParaRPr lang="en-US" dirty="0"/>
          </a:p>
        </p:txBody>
      </p:sp>
    </p:spTree>
    <p:extLst>
      <p:ext uri="{BB962C8B-B14F-4D97-AF65-F5344CB8AC3E}">
        <p14:creationId xmlns:p14="http://schemas.microsoft.com/office/powerpoint/2010/main" val="264092710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F0F63-466E-4773-9245-2E897A74B80E}"/>
              </a:ext>
            </a:extLst>
          </p:cNvPr>
          <p:cNvSpPr>
            <a:spLocks noGrp="1"/>
          </p:cNvSpPr>
          <p:nvPr>
            <p:ph type="title"/>
          </p:nvPr>
        </p:nvSpPr>
        <p:spPr/>
        <p:txBody>
          <a:bodyPr/>
          <a:lstStyle/>
          <a:p>
            <a:r>
              <a:rPr lang="en-US" dirty="0"/>
              <a:t>2020 Developmental Measure Priorities</a:t>
            </a:r>
          </a:p>
        </p:txBody>
      </p:sp>
      <p:sp>
        <p:nvSpPr>
          <p:cNvPr id="3" name="Content Placeholder 2">
            <a:extLst>
              <a:ext uri="{FF2B5EF4-FFF2-40B4-BE49-F238E27FC236}">
                <a16:creationId xmlns:a16="http://schemas.microsoft.com/office/drawing/2014/main" id="{7D3CD307-04CA-4A5F-87F7-F2350CEA8818}"/>
              </a:ext>
            </a:extLst>
          </p:cNvPr>
          <p:cNvSpPr>
            <a:spLocks noGrp="1"/>
          </p:cNvSpPr>
          <p:nvPr>
            <p:ph sz="half" idx="1"/>
          </p:nvPr>
        </p:nvSpPr>
        <p:spPr>
          <a:xfrm>
            <a:off x="456613" y="1291559"/>
            <a:ext cx="8230773" cy="5235849"/>
          </a:xfrm>
        </p:spPr>
        <p:txBody>
          <a:bodyPr/>
          <a:lstStyle/>
          <a:p>
            <a:pPr>
              <a:spcAft>
                <a:spcPts val="1800"/>
              </a:spcAft>
            </a:pPr>
            <a:r>
              <a:rPr lang="en-US" b="0" dirty="0"/>
              <a:t>Our next step in the Annual Review is to consider new measures for inclusion.  Prior to doing so, Taskforce staff remind the Taskforce of the eight 2020 Developmental Set priorities:</a:t>
            </a:r>
          </a:p>
          <a:p>
            <a:pPr>
              <a:spcAft>
                <a:spcPts val="600"/>
              </a:spcAft>
            </a:pPr>
            <a:r>
              <a:rPr lang="en-US" b="0" dirty="0"/>
              <a:t>Four of the development priorities are pediatric measures the Taskforce has recommended piloting, but for which we have received no volunteers to date:</a:t>
            </a:r>
          </a:p>
          <a:p>
            <a:pPr marL="644525" lvl="1" indent="-457200">
              <a:spcAft>
                <a:spcPts val="0"/>
              </a:spcAft>
              <a:buFont typeface="+mj-lt"/>
              <a:buAutoNum type="arabicPeriod"/>
            </a:pPr>
            <a:r>
              <a:rPr lang="en-US" b="0" dirty="0"/>
              <a:t>Appropriate Antibiotic Prophylaxis for Children with Sickle Cell Anemia</a:t>
            </a:r>
          </a:p>
          <a:p>
            <a:pPr marL="644525" lvl="1" indent="-457200">
              <a:spcAft>
                <a:spcPts val="0"/>
              </a:spcAft>
              <a:buFont typeface="+mj-lt"/>
              <a:buAutoNum type="arabicPeriod"/>
            </a:pPr>
            <a:r>
              <a:rPr lang="en-US" b="0" dirty="0"/>
              <a:t>Developmental Screening in the First Three Years of Life</a:t>
            </a:r>
          </a:p>
          <a:p>
            <a:pPr marL="644525" lvl="1" indent="-457200">
              <a:spcAft>
                <a:spcPts val="0"/>
              </a:spcAft>
              <a:buFont typeface="+mj-lt"/>
              <a:buAutoNum type="arabicPeriod"/>
            </a:pPr>
            <a:r>
              <a:rPr lang="en-US" b="0" dirty="0"/>
              <a:t>Fluoride Varnish</a:t>
            </a:r>
          </a:p>
          <a:p>
            <a:pPr marL="644525" lvl="1" indent="-457200">
              <a:spcAft>
                <a:spcPts val="1800"/>
              </a:spcAft>
              <a:buFont typeface="+mj-lt"/>
              <a:buAutoNum type="arabicPeriod"/>
            </a:pPr>
            <a:r>
              <a:rPr lang="en-US" b="0" dirty="0"/>
              <a:t>Tobacco Use and Help with Quitting Among Adolescents</a:t>
            </a:r>
          </a:p>
          <a:p>
            <a:r>
              <a:rPr lang="en-US" dirty="0"/>
              <a:t>We will plan on asking again for pilot participants in June (although volunteers are also welcome in March).</a:t>
            </a:r>
          </a:p>
        </p:txBody>
      </p:sp>
    </p:spTree>
    <p:extLst>
      <p:ext uri="{BB962C8B-B14F-4D97-AF65-F5344CB8AC3E}">
        <p14:creationId xmlns:p14="http://schemas.microsoft.com/office/powerpoint/2010/main" val="286560759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F0F63-466E-4773-9245-2E897A74B80E}"/>
              </a:ext>
            </a:extLst>
          </p:cNvPr>
          <p:cNvSpPr>
            <a:spLocks noGrp="1"/>
          </p:cNvSpPr>
          <p:nvPr>
            <p:ph type="title"/>
          </p:nvPr>
        </p:nvSpPr>
        <p:spPr/>
        <p:txBody>
          <a:bodyPr/>
          <a:lstStyle/>
          <a:p>
            <a:r>
              <a:rPr lang="en-US" dirty="0"/>
              <a:t>2020 Developmental Measure Priorities</a:t>
            </a:r>
          </a:p>
        </p:txBody>
      </p:sp>
      <p:sp>
        <p:nvSpPr>
          <p:cNvPr id="3" name="Content Placeholder 2">
            <a:extLst>
              <a:ext uri="{FF2B5EF4-FFF2-40B4-BE49-F238E27FC236}">
                <a16:creationId xmlns:a16="http://schemas.microsoft.com/office/drawing/2014/main" id="{7D3CD307-04CA-4A5F-87F7-F2350CEA8818}"/>
              </a:ext>
            </a:extLst>
          </p:cNvPr>
          <p:cNvSpPr>
            <a:spLocks noGrp="1"/>
          </p:cNvSpPr>
          <p:nvPr>
            <p:ph sz="half" idx="1"/>
          </p:nvPr>
        </p:nvSpPr>
        <p:spPr>
          <a:xfrm>
            <a:off x="589670" y="1361899"/>
            <a:ext cx="8146367" cy="4556234"/>
          </a:xfrm>
        </p:spPr>
        <p:txBody>
          <a:bodyPr/>
          <a:lstStyle/>
          <a:p>
            <a:r>
              <a:rPr lang="en-US" b="0" dirty="0"/>
              <a:t>Two other developmental priorities are areas we have been monitoring; we last discussed them in August 2020:</a:t>
            </a:r>
            <a:endParaRPr lang="en-US" dirty="0"/>
          </a:p>
          <a:p>
            <a:pPr marL="457200" indent="-457200">
              <a:buFont typeface="+mj-lt"/>
              <a:buAutoNum type="arabicPeriod"/>
            </a:pPr>
            <a:r>
              <a:rPr lang="en-US" dirty="0"/>
              <a:t>Kindergarten readiness: </a:t>
            </a:r>
            <a:r>
              <a:rPr lang="en-US" b="0" dirty="0"/>
              <a:t>As a reminder, the Taskforce recommended monitoring development of Kindergarten Readiness by OHA.</a:t>
            </a:r>
            <a:r>
              <a:rPr lang="en-US" dirty="0"/>
              <a:t> </a:t>
            </a:r>
          </a:p>
          <a:p>
            <a:pPr marL="457200" indent="-457200">
              <a:buFont typeface="+mj-lt"/>
              <a:buAutoNum type="arabicPeriod" startAt="2"/>
            </a:pPr>
            <a:r>
              <a:rPr lang="en-US" dirty="0"/>
              <a:t>Depression Remission or Response for Adolescents and Adults: </a:t>
            </a:r>
            <a:r>
              <a:rPr lang="en-US" b="0" dirty="0"/>
              <a:t>As a reminder, Taskforce members recommended continuing to monitor the operationalization of Depression Remission or Response for Adolescents and Adults.</a:t>
            </a:r>
          </a:p>
          <a:p>
            <a:r>
              <a:rPr lang="en-US" dirty="0"/>
              <a:t>We will walk through each of these measures next. </a:t>
            </a:r>
          </a:p>
        </p:txBody>
      </p:sp>
    </p:spTree>
    <p:extLst>
      <p:ext uri="{BB962C8B-B14F-4D97-AF65-F5344CB8AC3E}">
        <p14:creationId xmlns:p14="http://schemas.microsoft.com/office/powerpoint/2010/main" val="4201824155"/>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240F5E-158C-48A7-BC31-671F05598E08}"/>
              </a:ext>
            </a:extLst>
          </p:cNvPr>
          <p:cNvSpPr>
            <a:spLocks noGrp="1"/>
          </p:cNvSpPr>
          <p:nvPr>
            <p:ph type="title"/>
          </p:nvPr>
        </p:nvSpPr>
        <p:spPr/>
        <p:txBody>
          <a:bodyPr/>
          <a:lstStyle/>
          <a:p>
            <a:r>
              <a:rPr lang="en-US" dirty="0"/>
              <a:t>Kindergarten Readiness</a:t>
            </a:r>
          </a:p>
        </p:txBody>
      </p:sp>
      <p:sp>
        <p:nvSpPr>
          <p:cNvPr id="3" name="Content Placeholder 2">
            <a:extLst>
              <a:ext uri="{FF2B5EF4-FFF2-40B4-BE49-F238E27FC236}">
                <a16:creationId xmlns:a16="http://schemas.microsoft.com/office/drawing/2014/main" id="{74DA07F6-EF0A-4D52-B717-DA63E03FF277}"/>
              </a:ext>
            </a:extLst>
          </p:cNvPr>
          <p:cNvSpPr>
            <a:spLocks noGrp="1"/>
          </p:cNvSpPr>
          <p:nvPr>
            <p:ph sz="half" idx="1"/>
          </p:nvPr>
        </p:nvSpPr>
        <p:spPr>
          <a:xfrm>
            <a:off x="378655" y="1150883"/>
            <a:ext cx="8441788" cy="5460932"/>
          </a:xfrm>
        </p:spPr>
        <p:txBody>
          <a:bodyPr/>
          <a:lstStyle/>
          <a:p>
            <a:r>
              <a:rPr lang="en-US" dirty="0"/>
              <a:t>October 16,</a:t>
            </a:r>
            <a:r>
              <a:rPr lang="en-US" baseline="30000" dirty="0"/>
              <a:t> </a:t>
            </a:r>
            <a:r>
              <a:rPr lang="en-US" dirty="0"/>
              <a:t>2019 Taskforce meeting</a:t>
            </a:r>
            <a:r>
              <a:rPr lang="en-US" b="0" dirty="0"/>
              <a:t>: Taskforce staff shared Oregon’s Kindergarten Readiness measure strategy:</a:t>
            </a:r>
          </a:p>
          <a:p>
            <a:pPr lvl="1">
              <a:spcAft>
                <a:spcPts val="300"/>
              </a:spcAft>
            </a:pPr>
            <a:r>
              <a:rPr lang="en-US" b="0" dirty="0"/>
              <a:t>Use of two measures in 2020: Well-child visits for children 3-6 years old and Preventive dental visits for children 1-5 years old</a:t>
            </a:r>
          </a:p>
          <a:p>
            <a:pPr lvl="3">
              <a:spcAft>
                <a:spcPts val="300"/>
              </a:spcAft>
              <a:buFont typeface="Arial" panose="020B0604020202020204" pitchFamily="34" charset="0"/>
              <a:buChar char="•"/>
            </a:pPr>
            <a:r>
              <a:rPr lang="en-US" sz="2000" b="0" i="1" dirty="0">
                <a:solidFill>
                  <a:schemeClr val="tx1"/>
                </a:solidFill>
                <a:latin typeface="Book Antiqua" panose="02040602050305030304" pitchFamily="18" charset="0"/>
              </a:rPr>
              <a:t>At the time, participants noted that Massachusetts performed well on Well-child Visits and that MassHealth has a dental measure.</a:t>
            </a:r>
          </a:p>
          <a:p>
            <a:pPr lvl="1">
              <a:spcAft>
                <a:spcPts val="300"/>
              </a:spcAft>
            </a:pPr>
            <a:r>
              <a:rPr lang="en-US" b="0" dirty="0"/>
              <a:t>Work was underway to develop the two new measures addressing gaps in priority cross-sector topic areas (developmental screening and social-emotional health) </a:t>
            </a:r>
          </a:p>
          <a:p>
            <a:endParaRPr lang="en-US" sz="500" dirty="0"/>
          </a:p>
          <a:p>
            <a:pPr>
              <a:spcAft>
                <a:spcPts val="600"/>
              </a:spcAft>
            </a:pPr>
            <a:r>
              <a:rPr lang="en-US" dirty="0"/>
              <a:t>August 12, 2020 Taskforce meeting</a:t>
            </a:r>
            <a:r>
              <a:rPr lang="en-US" b="0" dirty="0"/>
              <a:t>: Oregon reported the timeline for the development of the two new measures was uncertain.  Activities had been delayed as a result of the pandemic.</a:t>
            </a:r>
          </a:p>
          <a:p>
            <a:endParaRPr lang="en-US" sz="500" b="0" dirty="0"/>
          </a:p>
          <a:p>
            <a:r>
              <a:rPr lang="en-US" dirty="0"/>
              <a:t>March 23, 2021 Taskforce update</a:t>
            </a:r>
            <a:r>
              <a:rPr lang="en-US" b="0" dirty="0"/>
              <a:t>: Social-emotional health was approved for initial pilot testing in November 2020, and a broader pilot began in February 2021.</a:t>
            </a:r>
          </a:p>
          <a:p>
            <a:endParaRPr lang="en-US" dirty="0"/>
          </a:p>
        </p:txBody>
      </p:sp>
    </p:spTree>
    <p:extLst>
      <p:ext uri="{BB962C8B-B14F-4D97-AF65-F5344CB8AC3E}">
        <p14:creationId xmlns:p14="http://schemas.microsoft.com/office/powerpoint/2010/main" val="9796381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FF1C1-278A-4069-BDE8-EB3DFF71687F}"/>
              </a:ext>
            </a:extLst>
          </p:cNvPr>
          <p:cNvSpPr>
            <a:spLocks noGrp="1"/>
          </p:cNvSpPr>
          <p:nvPr>
            <p:ph type="title"/>
          </p:nvPr>
        </p:nvSpPr>
        <p:spPr/>
        <p:txBody>
          <a:bodyPr/>
          <a:lstStyle/>
          <a:p>
            <a:r>
              <a:rPr lang="en-US" dirty="0"/>
              <a:t>Kindergarten Readiness</a:t>
            </a:r>
          </a:p>
        </p:txBody>
      </p:sp>
      <p:pic>
        <p:nvPicPr>
          <p:cNvPr id="4" name="Content Placeholder 3">
            <a:extLst>
              <a:ext uri="{FF2B5EF4-FFF2-40B4-BE49-F238E27FC236}">
                <a16:creationId xmlns:a16="http://schemas.microsoft.com/office/drawing/2014/main" id="{8C252278-6311-4E65-B1AB-05157B5B4B47}"/>
              </a:ext>
            </a:extLst>
          </p:cNvPr>
          <p:cNvPicPr>
            <a:picLocks noGrp="1" noChangeAspect="1"/>
          </p:cNvPicPr>
          <p:nvPr>
            <p:ph sz="half" idx="1"/>
          </p:nvPr>
        </p:nvPicPr>
        <p:blipFill>
          <a:blip r:embed="rId2"/>
          <a:stretch>
            <a:fillRect/>
          </a:stretch>
        </p:blipFill>
        <p:spPr>
          <a:xfrm>
            <a:off x="0" y="1128067"/>
            <a:ext cx="9112873" cy="4977312"/>
          </a:xfrm>
          <a:prstGeom prst="rect">
            <a:avLst/>
          </a:prstGeom>
        </p:spPr>
      </p:pic>
    </p:spTree>
    <p:extLst>
      <p:ext uri="{BB962C8B-B14F-4D97-AF65-F5344CB8AC3E}">
        <p14:creationId xmlns:p14="http://schemas.microsoft.com/office/powerpoint/2010/main" val="421010496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F3E082-304B-4ACD-863A-7C0EEAC4B593}"/>
              </a:ext>
            </a:extLst>
          </p:cNvPr>
          <p:cNvSpPr>
            <a:spLocks noGrp="1"/>
          </p:cNvSpPr>
          <p:nvPr>
            <p:ph type="title"/>
          </p:nvPr>
        </p:nvSpPr>
        <p:spPr/>
        <p:txBody>
          <a:bodyPr/>
          <a:lstStyle/>
          <a:p>
            <a:r>
              <a:rPr lang="en-US" dirty="0"/>
              <a:t>Kindergarten Readiness</a:t>
            </a:r>
          </a:p>
        </p:txBody>
      </p:sp>
      <p:pic>
        <p:nvPicPr>
          <p:cNvPr id="4" name="Content Placeholder 5">
            <a:extLst>
              <a:ext uri="{FF2B5EF4-FFF2-40B4-BE49-F238E27FC236}">
                <a16:creationId xmlns:a16="http://schemas.microsoft.com/office/drawing/2014/main" id="{C0B13729-283E-4F05-AA1F-E978CC6A3C7F}"/>
              </a:ext>
            </a:extLst>
          </p:cNvPr>
          <p:cNvPicPr>
            <a:picLocks noGrp="1" noChangeAspect="1"/>
          </p:cNvPicPr>
          <p:nvPr>
            <p:ph sz="half" idx="1"/>
          </p:nvPr>
        </p:nvPicPr>
        <p:blipFill>
          <a:blip r:embed="rId2"/>
          <a:stretch>
            <a:fillRect/>
          </a:stretch>
        </p:blipFill>
        <p:spPr>
          <a:xfrm>
            <a:off x="0" y="1176181"/>
            <a:ext cx="9138482" cy="4211745"/>
          </a:xfrm>
          <a:prstGeom prst="rect">
            <a:avLst/>
          </a:prstGeom>
        </p:spPr>
      </p:pic>
    </p:spTree>
    <p:extLst>
      <p:ext uri="{BB962C8B-B14F-4D97-AF65-F5344CB8AC3E}">
        <p14:creationId xmlns:p14="http://schemas.microsoft.com/office/powerpoint/2010/main" val="197027163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8E178E-2305-456B-B83A-A4945353F908}"/>
              </a:ext>
            </a:extLst>
          </p:cNvPr>
          <p:cNvSpPr>
            <a:spLocks noGrp="1"/>
          </p:cNvSpPr>
          <p:nvPr>
            <p:ph type="title"/>
          </p:nvPr>
        </p:nvSpPr>
        <p:spPr/>
        <p:txBody>
          <a:bodyPr/>
          <a:lstStyle/>
          <a:p>
            <a:r>
              <a:rPr lang="en-US" dirty="0"/>
              <a:t>Kindergarten Readiness</a:t>
            </a:r>
          </a:p>
        </p:txBody>
      </p:sp>
      <p:pic>
        <p:nvPicPr>
          <p:cNvPr id="4" name="Picture 3">
            <a:extLst>
              <a:ext uri="{FF2B5EF4-FFF2-40B4-BE49-F238E27FC236}">
                <a16:creationId xmlns:a16="http://schemas.microsoft.com/office/drawing/2014/main" id="{9668EEA7-A4F9-4FDD-B108-E06C07738AC2}"/>
              </a:ext>
            </a:extLst>
          </p:cNvPr>
          <p:cNvPicPr/>
          <p:nvPr/>
        </p:nvPicPr>
        <p:blipFill rotWithShape="1">
          <a:blip r:embed="rId2"/>
          <a:srcRect l="25231" t="16263" r="40162" b="5093"/>
          <a:stretch/>
        </p:blipFill>
        <p:spPr bwMode="auto">
          <a:xfrm>
            <a:off x="2131142" y="1146970"/>
            <a:ext cx="4881715" cy="535126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623864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72240-856C-4C28-915E-78E1284A5733}"/>
              </a:ext>
            </a:extLst>
          </p:cNvPr>
          <p:cNvSpPr>
            <a:spLocks noGrp="1"/>
          </p:cNvSpPr>
          <p:nvPr>
            <p:ph type="title"/>
          </p:nvPr>
        </p:nvSpPr>
        <p:spPr/>
        <p:txBody>
          <a:bodyPr/>
          <a:lstStyle/>
          <a:p>
            <a:r>
              <a:rPr lang="en-US" dirty="0"/>
              <a:t>Depression Remission or Response for Adolescents and Adults</a:t>
            </a:r>
          </a:p>
        </p:txBody>
      </p:sp>
      <p:sp>
        <p:nvSpPr>
          <p:cNvPr id="3" name="Content Placeholder 2">
            <a:extLst>
              <a:ext uri="{FF2B5EF4-FFF2-40B4-BE49-F238E27FC236}">
                <a16:creationId xmlns:a16="http://schemas.microsoft.com/office/drawing/2014/main" id="{4832C854-FFC0-4D1D-839F-727490605611}"/>
              </a:ext>
            </a:extLst>
          </p:cNvPr>
          <p:cNvSpPr>
            <a:spLocks noGrp="1"/>
          </p:cNvSpPr>
          <p:nvPr>
            <p:ph sz="half" idx="1"/>
          </p:nvPr>
        </p:nvSpPr>
        <p:spPr>
          <a:xfrm>
            <a:off x="533400" y="1174652"/>
            <a:ext cx="8077200" cy="5324622"/>
          </a:xfrm>
        </p:spPr>
        <p:txBody>
          <a:bodyPr/>
          <a:lstStyle/>
          <a:p>
            <a:r>
              <a:rPr lang="en-US" dirty="0"/>
              <a:t>October 16,</a:t>
            </a:r>
            <a:r>
              <a:rPr lang="en-US" baseline="30000" dirty="0"/>
              <a:t> </a:t>
            </a:r>
            <a:r>
              <a:rPr lang="en-US" dirty="0"/>
              <a:t>2019 Taskforce meeting</a:t>
            </a:r>
            <a:r>
              <a:rPr lang="en-US" b="0" dirty="0"/>
              <a:t>: The Taskforce recommended moving Depression Remission or Response from the Core Set to the Developmental Set based on Linda Shaughnessy’s recommendation that the state first focus on screening and use of PHQ-9 then follow-up as part of a glide path to use of an outcome measure.  She had shared that the rate of follow-up was too low to make Depression Remission of Response a viable measure. </a:t>
            </a:r>
            <a:endParaRPr lang="en-US" b="0" dirty="0">
              <a:highlight>
                <a:srgbClr val="FFFF00"/>
              </a:highlight>
            </a:endParaRPr>
          </a:p>
          <a:p>
            <a:pPr>
              <a:spcAft>
                <a:spcPts val="600"/>
              </a:spcAft>
            </a:pPr>
            <a:r>
              <a:rPr lang="en-US" dirty="0"/>
              <a:t>August 12, 2020 Taskforce Meeting: </a:t>
            </a:r>
            <a:r>
              <a:rPr lang="en-US" b="0" dirty="0"/>
              <a:t>NCQA presenters shared that plans were facing the following barriers to implementing this  ECDS measure: restrictions on behavioral health data sharing, unwillingness of plans, and learning how to use the data. </a:t>
            </a:r>
          </a:p>
          <a:p>
            <a:pPr lvl="1"/>
            <a:r>
              <a:rPr lang="en-US" b="0" dirty="0"/>
              <a:t>Taskforce members recommended continuing to monitor the operationalization of Depression Remission or Response for Adolescents and Adults.</a:t>
            </a:r>
          </a:p>
        </p:txBody>
      </p:sp>
    </p:spTree>
    <p:extLst>
      <p:ext uri="{BB962C8B-B14F-4D97-AF65-F5344CB8AC3E}">
        <p14:creationId xmlns:p14="http://schemas.microsoft.com/office/powerpoint/2010/main" val="280491655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F0F63-466E-4773-9245-2E897A74B80E}"/>
              </a:ext>
            </a:extLst>
          </p:cNvPr>
          <p:cNvSpPr>
            <a:spLocks noGrp="1"/>
          </p:cNvSpPr>
          <p:nvPr>
            <p:ph type="title"/>
          </p:nvPr>
        </p:nvSpPr>
        <p:spPr/>
        <p:txBody>
          <a:bodyPr/>
          <a:lstStyle/>
          <a:p>
            <a:r>
              <a:rPr lang="en-US" dirty="0"/>
              <a:t>2020 Developmental Measure Priorities</a:t>
            </a:r>
          </a:p>
        </p:txBody>
      </p:sp>
      <p:sp>
        <p:nvSpPr>
          <p:cNvPr id="3" name="Content Placeholder 2">
            <a:extLst>
              <a:ext uri="{FF2B5EF4-FFF2-40B4-BE49-F238E27FC236}">
                <a16:creationId xmlns:a16="http://schemas.microsoft.com/office/drawing/2014/main" id="{7D3CD307-04CA-4A5F-87F7-F2350CEA8818}"/>
              </a:ext>
            </a:extLst>
          </p:cNvPr>
          <p:cNvSpPr>
            <a:spLocks noGrp="1"/>
          </p:cNvSpPr>
          <p:nvPr>
            <p:ph sz="half" idx="1"/>
          </p:nvPr>
        </p:nvSpPr>
        <p:spPr>
          <a:xfrm>
            <a:off x="626012" y="1347831"/>
            <a:ext cx="7891975" cy="4556234"/>
          </a:xfrm>
        </p:spPr>
        <p:txBody>
          <a:bodyPr/>
          <a:lstStyle/>
          <a:p>
            <a:r>
              <a:rPr lang="en-US" b="0" dirty="0"/>
              <a:t>The last two development measure priorities are measure concepts which we will further discuss: </a:t>
            </a:r>
          </a:p>
          <a:p>
            <a:pPr marL="457200" indent="-457200">
              <a:buFont typeface="+mj-lt"/>
              <a:buAutoNum type="arabicPeriod"/>
            </a:pPr>
            <a:r>
              <a:rPr lang="en-US" b="0" dirty="0"/>
              <a:t>Health equity </a:t>
            </a:r>
            <a:r>
              <a:rPr lang="en-US" b="0" i="1" dirty="0"/>
              <a:t>(to be discussed next) </a:t>
            </a:r>
          </a:p>
          <a:p>
            <a:pPr marL="457200" indent="-457200">
              <a:buFont typeface="+mj-lt"/>
              <a:buAutoNum type="arabicPeriod"/>
            </a:pPr>
            <a:r>
              <a:rPr lang="en-US" b="0" dirty="0"/>
              <a:t>Care coordination </a:t>
            </a:r>
            <a:r>
              <a:rPr lang="en-US" b="0" i="1" dirty="0"/>
              <a:t>(to be discussed in April)</a:t>
            </a:r>
          </a:p>
          <a:p>
            <a:pPr marL="457200" indent="-457200">
              <a:buFont typeface="+mj-lt"/>
              <a:buAutoNum type="arabicPeriod"/>
            </a:pPr>
            <a:endParaRPr lang="en-US" b="0" dirty="0"/>
          </a:p>
          <a:p>
            <a:pPr marL="457200" indent="-457200">
              <a:buFont typeface="+mj-lt"/>
              <a:buAutoNum type="arabicPeriod"/>
            </a:pPr>
            <a:endParaRPr lang="en-US" dirty="0"/>
          </a:p>
        </p:txBody>
      </p:sp>
    </p:spTree>
    <p:extLst>
      <p:ext uri="{BB962C8B-B14F-4D97-AF65-F5344CB8AC3E}">
        <p14:creationId xmlns:p14="http://schemas.microsoft.com/office/powerpoint/2010/main" val="9808940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5676D-56A7-42FC-84A9-CBF42723CB87}"/>
              </a:ext>
            </a:extLst>
          </p:cNvPr>
          <p:cNvSpPr>
            <a:spLocks noGrp="1"/>
          </p:cNvSpPr>
          <p:nvPr>
            <p:ph type="title"/>
          </p:nvPr>
        </p:nvSpPr>
        <p:spPr/>
        <p:txBody>
          <a:bodyPr/>
          <a:lstStyle/>
          <a:p>
            <a:r>
              <a:rPr lang="en-US" dirty="0"/>
              <a:t>Health Equity</a:t>
            </a:r>
          </a:p>
        </p:txBody>
      </p:sp>
      <p:sp>
        <p:nvSpPr>
          <p:cNvPr id="3" name="Content Placeholder 2">
            <a:extLst>
              <a:ext uri="{FF2B5EF4-FFF2-40B4-BE49-F238E27FC236}">
                <a16:creationId xmlns:a16="http://schemas.microsoft.com/office/drawing/2014/main" id="{4F002E3A-FCA0-4435-AFDE-6B69FC226C23}"/>
              </a:ext>
            </a:extLst>
          </p:cNvPr>
          <p:cNvSpPr>
            <a:spLocks noGrp="1"/>
          </p:cNvSpPr>
          <p:nvPr>
            <p:ph sz="half" idx="1"/>
          </p:nvPr>
        </p:nvSpPr>
        <p:spPr>
          <a:xfrm>
            <a:off x="575187" y="1453737"/>
            <a:ext cx="7772400" cy="4556234"/>
          </a:xfrm>
        </p:spPr>
        <p:txBody>
          <a:bodyPr/>
          <a:lstStyle/>
          <a:p>
            <a:pPr>
              <a:spcAft>
                <a:spcPts val="0"/>
              </a:spcAft>
            </a:pPr>
            <a:r>
              <a:rPr lang="en-US" b="0" u="sng" dirty="0"/>
              <a:t>June 2020</a:t>
            </a:r>
            <a:r>
              <a:rPr lang="en-US" b="0" dirty="0"/>
              <a:t>: Undersecretary Peters said </a:t>
            </a:r>
            <a:r>
              <a:rPr lang="en-US" b="0" dirty="0">
                <a:effectLst/>
                <a:cs typeface="Times New Roman" panose="02020603050405020304" pitchFamily="18" charset="0"/>
              </a:rPr>
              <a:t>we were at an inflection point for the country and state and that addressing racism was top of mind for the Baker Administration</a:t>
            </a:r>
          </a:p>
          <a:p>
            <a:pPr>
              <a:spcAft>
                <a:spcPts val="0"/>
              </a:spcAft>
            </a:pPr>
            <a:endParaRPr lang="en-US" sz="1800" b="0" dirty="0"/>
          </a:p>
          <a:p>
            <a:pPr>
              <a:spcAft>
                <a:spcPts val="0"/>
              </a:spcAft>
            </a:pPr>
            <a:r>
              <a:rPr lang="en-US" b="0" u="sng" dirty="0"/>
              <a:t>July 2020</a:t>
            </a:r>
            <a:r>
              <a:rPr lang="en-US" b="0" dirty="0"/>
              <a:t>: The Taskforce began discussing how to infuse health equity into its work.</a:t>
            </a:r>
          </a:p>
          <a:p>
            <a:endParaRPr lang="en-US" sz="1200" b="0" u="sng" dirty="0"/>
          </a:p>
          <a:p>
            <a:r>
              <a:rPr lang="en-US" b="0" u="sng" dirty="0"/>
              <a:t>September 2020</a:t>
            </a:r>
            <a:r>
              <a:rPr lang="en-US" b="0" dirty="0"/>
              <a:t>: The Taskforce reviewed and endorsed six steps to address health equity.  These six steps are listed on the following slides.</a:t>
            </a:r>
          </a:p>
          <a:p>
            <a:endParaRPr lang="en-US" dirty="0"/>
          </a:p>
        </p:txBody>
      </p:sp>
    </p:spTree>
    <p:extLst>
      <p:ext uri="{BB962C8B-B14F-4D97-AF65-F5344CB8AC3E}">
        <p14:creationId xmlns:p14="http://schemas.microsoft.com/office/powerpoint/2010/main" val="42601885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tatus updates</a:t>
            </a:r>
          </a:p>
          <a:p>
            <a:pPr marL="644525" lvl="1" indent="-457200">
              <a:buFont typeface="+mj-lt"/>
              <a:buAutoNum type="alphaLcPeriod"/>
            </a:pPr>
            <a:r>
              <a:rPr lang="en-US" sz="2200" b="0" dirty="0">
                <a:cs typeface="Times New Roman" panose="02020603050405020304" pitchFamily="18" charset="0"/>
              </a:rPr>
              <a:t>Language on maximum number of measures per contract</a:t>
            </a:r>
          </a:p>
          <a:p>
            <a:pPr marL="644525" lvl="1" indent="-457200">
              <a:buFont typeface="+mj-lt"/>
              <a:buAutoNum type="alphaLcPeriod"/>
            </a:pPr>
            <a:r>
              <a:rPr lang="en-US" sz="2200" b="0" dirty="0"/>
              <a:t>Consider possible new measures</a:t>
            </a:r>
          </a:p>
          <a:p>
            <a:pPr marL="644525" lvl="1" indent="-457200">
              <a:buFont typeface="+mj-lt"/>
              <a:buAutoNum type="alphaLcPeriod"/>
            </a:pPr>
            <a:r>
              <a:rPr lang="en-US" sz="2200" b="0" dirty="0">
                <a:cs typeface="Times New Roman" panose="02020603050405020304" pitchFamily="18" charset="0"/>
              </a:rPr>
              <a:t>Consider proposed HEDIS changes</a:t>
            </a:r>
            <a:endParaRPr lang="en-US" sz="2200" dirty="0">
              <a:cs typeface="Times New Roman" panose="02020603050405020304" pitchFamily="18" charset="0"/>
            </a:endParaRP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1375634"/>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3438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5676D-56A7-42FC-84A9-CBF42723CB87}"/>
              </a:ext>
            </a:extLst>
          </p:cNvPr>
          <p:cNvSpPr>
            <a:spLocks noGrp="1"/>
          </p:cNvSpPr>
          <p:nvPr>
            <p:ph type="title"/>
          </p:nvPr>
        </p:nvSpPr>
        <p:spPr/>
        <p:txBody>
          <a:bodyPr/>
          <a:lstStyle/>
          <a:p>
            <a:r>
              <a:rPr lang="en-US" dirty="0"/>
              <a:t>Health Equity</a:t>
            </a:r>
          </a:p>
        </p:txBody>
      </p:sp>
      <p:sp>
        <p:nvSpPr>
          <p:cNvPr id="3" name="Content Placeholder 2">
            <a:extLst>
              <a:ext uri="{FF2B5EF4-FFF2-40B4-BE49-F238E27FC236}">
                <a16:creationId xmlns:a16="http://schemas.microsoft.com/office/drawing/2014/main" id="{4F002E3A-FCA0-4435-AFDE-6B69FC226C23}"/>
              </a:ext>
            </a:extLst>
          </p:cNvPr>
          <p:cNvSpPr>
            <a:spLocks noGrp="1"/>
          </p:cNvSpPr>
          <p:nvPr>
            <p:ph sz="half" idx="1"/>
          </p:nvPr>
        </p:nvSpPr>
        <p:spPr>
          <a:xfrm>
            <a:off x="280219" y="1306251"/>
            <a:ext cx="8259097" cy="4991309"/>
          </a:xfrm>
        </p:spPr>
        <p:txBody>
          <a:bodyPr/>
          <a:lstStyle/>
          <a:p>
            <a:pPr marL="342900" marR="0" lvl="0" indent="-342900">
              <a:spcBef>
                <a:spcPts val="0"/>
              </a:spcBef>
              <a:spcAft>
                <a:spcPts val="600"/>
              </a:spcAft>
              <a:buFont typeface="+mj-lt"/>
              <a:buAutoNum type="arabicPeriod"/>
            </a:pPr>
            <a:r>
              <a:rPr lang="en-US" dirty="0">
                <a:effectLst/>
                <a:latin typeface="Book Antiqua" panose="02040602050305030304" pitchFamily="18" charset="0"/>
                <a:ea typeface="Times New Roman" panose="02020603050405020304" pitchFamily="18" charset="0"/>
                <a:cs typeface="Times New Roman" panose="02020603050405020304" pitchFamily="18" charset="0"/>
              </a:rPr>
              <a:t>Improve the collection of RELD data by MassHealth, insurers and providers.</a:t>
            </a:r>
          </a:p>
          <a:p>
            <a:pPr marL="742950" marR="0" lvl="1" indent="-285750">
              <a:spcBef>
                <a:spcPts val="0"/>
              </a:spcBef>
              <a:spcAft>
                <a:spcPts val="0"/>
              </a:spcAft>
              <a:buFont typeface="+mj-lt"/>
              <a:buAutoNum type="alphaLcPeriod"/>
            </a:pPr>
            <a:r>
              <a:rPr lang="en-US" b="0" dirty="0">
                <a:effectLst/>
                <a:latin typeface="Book Antiqua" panose="02040602050305030304" pitchFamily="18" charset="0"/>
                <a:ea typeface="Times New Roman" panose="02020603050405020304" pitchFamily="18" charset="0"/>
                <a:cs typeface="Times New Roman" panose="02020603050405020304" pitchFamily="18" charset="0"/>
              </a:rPr>
              <a:t>Recommend to MassHealth, DOI and DPH standards and accountability mechanisms, for insurer, MassHealth and provider data collection and reporting. </a:t>
            </a:r>
          </a:p>
          <a:p>
            <a:pPr marL="1143000" marR="0" lvl="2" indent="-228600">
              <a:spcBef>
                <a:spcPts val="0"/>
              </a:spcBef>
              <a:spcAft>
                <a:spcPts val="0"/>
              </a:spcAft>
              <a:buFont typeface="+mj-lt"/>
              <a:buAutoNum type="romanLcPeriod"/>
            </a:pPr>
            <a:r>
              <a:rPr lang="en-US" dirty="0">
                <a:effectLst/>
                <a:latin typeface="Book Antiqua" panose="02040602050305030304" pitchFamily="18" charset="0"/>
                <a:ea typeface="Times New Roman" panose="02020603050405020304" pitchFamily="18" charset="0"/>
                <a:cs typeface="Times New Roman" panose="02020603050405020304" pitchFamily="18" charset="0"/>
              </a:rPr>
              <a:t>This will include reviewing how data are collected in other states and at a national level to align where possible (so long as existing standards are raising the bar for collection and not lowering it).</a:t>
            </a:r>
            <a:r>
              <a:rPr lang="en-US" baseline="30000" dirty="0">
                <a:effectLst/>
                <a:latin typeface="Book Antiqua" panose="02040602050305030304" pitchFamily="18" charset="0"/>
                <a:ea typeface="Times New Roman" panose="02020603050405020304" pitchFamily="18" charset="0"/>
                <a:cs typeface="Times New Roman" panose="02020603050405020304" pitchFamily="18" charset="0"/>
              </a:rPr>
              <a:t> </a:t>
            </a:r>
            <a:endParaRPr lang="en-US" dirty="0">
              <a:effectLst/>
              <a:latin typeface="Book Antiqua" panose="02040602050305030304" pitchFamily="18" charset="0"/>
              <a:ea typeface="Times New Roman" panose="02020603050405020304" pitchFamily="18" charset="0"/>
              <a:cs typeface="Times New Roman" panose="02020603050405020304" pitchFamily="18" charset="0"/>
            </a:endParaRPr>
          </a:p>
          <a:p>
            <a:pPr marL="1143000" marR="0" lvl="2" indent="-228600">
              <a:spcBef>
                <a:spcPts val="0"/>
              </a:spcBef>
              <a:spcAft>
                <a:spcPts val="600"/>
              </a:spcAft>
              <a:buFont typeface="+mj-lt"/>
              <a:buAutoNum type="romanLcPeriod"/>
            </a:pPr>
            <a:r>
              <a:rPr lang="en-US" dirty="0">
                <a:effectLst/>
                <a:latin typeface="Book Antiqua" panose="02040602050305030304" pitchFamily="18" charset="0"/>
                <a:ea typeface="Times New Roman" panose="02020603050405020304" pitchFamily="18" charset="0"/>
                <a:cs typeface="Times New Roman" panose="02020603050405020304" pitchFamily="18" charset="0"/>
              </a:rPr>
              <a:t>This will include a review of whether payers or providers are most suited to collection of these data.</a:t>
            </a:r>
            <a:endParaRPr lang="en-US" b="0" dirty="0">
              <a:effectLst/>
              <a:latin typeface="Book Antiqua" panose="02040602050305030304" pitchFamily="18" charset="0"/>
              <a:ea typeface="Times New Roman" panose="02020603050405020304" pitchFamily="18" charset="0"/>
              <a:cs typeface="Times New Roman" panose="02020603050405020304" pitchFamily="18" charset="0"/>
            </a:endParaRPr>
          </a:p>
          <a:p>
            <a:pPr marL="688975" lvl="1" indent="-342900">
              <a:buFont typeface="+mj-lt"/>
              <a:buAutoNum type="alphaLcPeriod"/>
            </a:pPr>
            <a:r>
              <a:rPr lang="en-US" b="0" dirty="0">
                <a:solidFill>
                  <a:srgbClr val="023467"/>
                </a:solidFill>
                <a:effectLst/>
                <a:latin typeface="Book Antiqua" panose="02040602050305030304" pitchFamily="18" charset="0"/>
                <a:ea typeface="Times New Roman" panose="02020603050405020304" pitchFamily="18" charset="0"/>
                <a:cs typeface="Times New Roman" panose="02020603050405020304" pitchFamily="18" charset="0"/>
              </a:rPr>
              <a:t>Add a measure(s) to the Aligned Measure Set, that will motivate improved ACO network provider capture of RELD data, e.g., the percentage of attributed patients for which the ACO has complete RELD data and/or variation in performance on a screening or chronic disease measures by race, ethnicity, language or disability status relative to the majority population, e.g., a ratio.</a:t>
            </a:r>
          </a:p>
          <a:p>
            <a:endParaRPr lang="en-US" dirty="0"/>
          </a:p>
        </p:txBody>
      </p:sp>
    </p:spTree>
    <p:extLst>
      <p:ext uri="{BB962C8B-B14F-4D97-AF65-F5344CB8AC3E}">
        <p14:creationId xmlns:p14="http://schemas.microsoft.com/office/powerpoint/2010/main" val="67715639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98B1B7-7590-4DAA-8FA8-EABE6D381633}"/>
              </a:ext>
            </a:extLst>
          </p:cNvPr>
          <p:cNvSpPr>
            <a:spLocks noGrp="1"/>
          </p:cNvSpPr>
          <p:nvPr>
            <p:ph type="title"/>
          </p:nvPr>
        </p:nvSpPr>
        <p:spPr/>
        <p:txBody>
          <a:bodyPr/>
          <a:lstStyle/>
          <a:p>
            <a:r>
              <a:rPr lang="en-US" dirty="0"/>
              <a:t>Health Equity</a:t>
            </a:r>
          </a:p>
        </p:txBody>
      </p:sp>
      <p:sp>
        <p:nvSpPr>
          <p:cNvPr id="3" name="Content Placeholder 2">
            <a:extLst>
              <a:ext uri="{FF2B5EF4-FFF2-40B4-BE49-F238E27FC236}">
                <a16:creationId xmlns:a16="http://schemas.microsoft.com/office/drawing/2014/main" id="{8D4B2B78-AB15-466E-A6D5-FE9C8BA4BF26}"/>
              </a:ext>
            </a:extLst>
          </p:cNvPr>
          <p:cNvSpPr>
            <a:spLocks noGrp="1"/>
          </p:cNvSpPr>
          <p:nvPr>
            <p:ph sz="half" idx="1"/>
          </p:nvPr>
        </p:nvSpPr>
        <p:spPr>
          <a:xfrm>
            <a:off x="322383" y="982067"/>
            <a:ext cx="8610601" cy="4556234"/>
          </a:xfrm>
        </p:spPr>
        <p:txBody>
          <a:bodyPr/>
          <a:lstStyle/>
          <a:p>
            <a:pPr marL="457200" marR="0" lvl="0" indent="-457200">
              <a:spcBef>
                <a:spcPts val="0"/>
              </a:spcBef>
              <a:spcAft>
                <a:spcPts val="0"/>
              </a:spcAft>
              <a:buFont typeface="+mj-lt"/>
              <a:buAutoNum type="arabicPeriod" startAt="2"/>
            </a:pPr>
            <a:r>
              <a:rPr lang="en-US" dirty="0">
                <a:effectLst/>
                <a:ea typeface="Times New Roman" panose="02020603050405020304" pitchFamily="18" charset="0"/>
                <a:cs typeface="Times New Roman" panose="02020603050405020304" pitchFamily="18" charset="0"/>
              </a:rPr>
              <a:t>Recommend MassHealth and payers report on disparities on quality measures, since it has some, albeit incomplete, RELD data.</a:t>
            </a:r>
          </a:p>
          <a:p>
            <a:pPr marL="742950" marR="0" lvl="1" indent="-285750">
              <a:spcBef>
                <a:spcPts val="0"/>
              </a:spcBef>
              <a:spcAft>
                <a:spcPts val="0"/>
              </a:spcAft>
              <a:buFont typeface="+mj-lt"/>
              <a:buAutoNum type="alphaLcPeriod"/>
            </a:pPr>
            <a:r>
              <a:rPr lang="en-US" b="0" dirty="0">
                <a:effectLst/>
                <a:ea typeface="Times New Roman" panose="02020603050405020304" pitchFamily="18" charset="0"/>
                <a:cs typeface="Times New Roman" panose="02020603050405020304" pitchFamily="18" charset="0"/>
              </a:rPr>
              <a:t>Begin with a subset of Aligned Measure Set measures. As part of its Taskforce work group activity, DPH researched where published literature shows greatest disparities for measures within the Aligned Measure Set.</a:t>
            </a:r>
          </a:p>
          <a:p>
            <a:pPr marL="342900" marR="0" lvl="0" indent="-342900">
              <a:spcBef>
                <a:spcPts val="0"/>
              </a:spcBef>
              <a:spcAft>
                <a:spcPts val="0"/>
              </a:spcAft>
              <a:buFont typeface="+mj-lt"/>
              <a:buAutoNum type="arabicPeriod" startAt="2"/>
            </a:pPr>
            <a:endParaRPr lang="en-US" sz="1600" b="0" dirty="0">
              <a:effectLs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mj-lt"/>
              <a:buAutoNum type="arabicPeriod" startAt="2"/>
            </a:pPr>
            <a:r>
              <a:rPr lang="en-US" dirty="0">
                <a:effectLst/>
                <a:ea typeface="Times New Roman" panose="02020603050405020304" pitchFamily="18" charset="0"/>
                <a:cs typeface="Times New Roman" panose="02020603050405020304" pitchFamily="18" charset="0"/>
              </a:rPr>
              <a:t>Share available stratified analyses and develop a framework for interpreting stratified data.</a:t>
            </a:r>
          </a:p>
          <a:p>
            <a:pPr marL="742950" marR="0" lvl="1" indent="-285750">
              <a:spcBef>
                <a:spcPts val="0"/>
              </a:spcBef>
              <a:spcAft>
                <a:spcPts val="0"/>
              </a:spcAft>
              <a:buFont typeface="+mj-lt"/>
              <a:buAutoNum type="alphaLcPeriod"/>
            </a:pPr>
            <a:r>
              <a:rPr lang="en-US" b="0" dirty="0">
                <a:effectLst/>
                <a:ea typeface="Times New Roman" panose="02020603050405020304" pitchFamily="18" charset="0"/>
                <a:cs typeface="Times New Roman" panose="02020603050405020304" pitchFamily="18" charset="0"/>
              </a:rPr>
              <a:t>Start sharing analyses of stratified performance with the Taskforce.</a:t>
            </a:r>
          </a:p>
          <a:p>
            <a:pPr marL="742950" marR="0" lvl="1" indent="-285750">
              <a:spcBef>
                <a:spcPts val="0"/>
              </a:spcBef>
              <a:spcAft>
                <a:spcPts val="0"/>
              </a:spcAft>
              <a:buFont typeface="+mj-lt"/>
              <a:buAutoNum type="alphaLcPeriod"/>
            </a:pPr>
            <a:r>
              <a:rPr lang="en-US" b="0" dirty="0">
                <a:effectLst/>
                <a:ea typeface="Times New Roman" panose="02020603050405020304" pitchFamily="18" charset="0"/>
                <a:cs typeface="Times New Roman" panose="02020603050405020304" pitchFamily="18" charset="0"/>
              </a:rPr>
              <a:t>Develop and apply a framework about how to interpret such data, being sensitive to the application of implicit biases.</a:t>
            </a:r>
          </a:p>
          <a:p>
            <a:pPr marL="346075" lvl="1" indent="0">
              <a:buNone/>
            </a:pPr>
            <a:endParaRPr lang="en-US" sz="1000" b="0" dirty="0">
              <a:effectLst/>
              <a:ea typeface="Times New Roman" panose="02020603050405020304" pitchFamily="18" charset="0"/>
              <a:cs typeface="Times New Roman" panose="02020603050405020304" pitchFamily="18" charset="0"/>
            </a:endParaRPr>
          </a:p>
          <a:p>
            <a:pPr marL="457200" marR="0" lvl="0" indent="-457200">
              <a:spcBef>
                <a:spcPts val="0"/>
              </a:spcBef>
              <a:spcAft>
                <a:spcPts val="0"/>
              </a:spcAft>
              <a:buFont typeface="+mj-lt"/>
              <a:buAutoNum type="arabicPeriod" startAt="3"/>
            </a:pPr>
            <a:r>
              <a:rPr lang="en-US" dirty="0">
                <a:effectLst/>
                <a:latin typeface="Book Antiqua" panose="02040602050305030304" pitchFamily="18" charset="0"/>
                <a:ea typeface="Times New Roman" panose="02020603050405020304" pitchFamily="18" charset="0"/>
                <a:cs typeface="Times New Roman" panose="02020603050405020304" pitchFamily="18" charset="0"/>
              </a:rPr>
              <a:t>Add new voices to the Taskforce </a:t>
            </a:r>
            <a:r>
              <a:rPr lang="en-US" b="0" dirty="0">
                <a:effectLst/>
                <a:latin typeface="Book Antiqua" panose="02040602050305030304" pitchFamily="18" charset="0"/>
                <a:ea typeface="Times New Roman" panose="02020603050405020304" pitchFamily="18" charset="0"/>
                <a:cs typeface="Times New Roman" panose="02020603050405020304" pitchFamily="18" charset="0"/>
              </a:rPr>
              <a:t>through recruitment of a) representatives of racial/ethnic minority populations, b) additional disparities subject matter experts, and/or c) additional community health center representatives.</a:t>
            </a:r>
          </a:p>
          <a:p>
            <a:pPr marL="742950" marR="0" lvl="1" indent="-285750">
              <a:spcBef>
                <a:spcPts val="0"/>
              </a:spcBef>
              <a:spcAft>
                <a:spcPts val="0"/>
              </a:spcAft>
              <a:buFont typeface="+mj-lt"/>
              <a:buAutoNum type="alphaLcPeriod"/>
            </a:pPr>
            <a:r>
              <a:rPr lang="en-US" b="0" dirty="0">
                <a:effectLst/>
                <a:latin typeface="Book Antiqua" panose="02040602050305030304" pitchFamily="18" charset="0"/>
                <a:ea typeface="Times New Roman" panose="02020603050405020304" pitchFamily="18" charset="0"/>
                <a:cs typeface="Times New Roman" panose="02020603050405020304" pitchFamily="18" charset="0"/>
              </a:rPr>
              <a:t>In the interim, invite subject matter experts to weigh in on topics of priority to the Taskforce.</a:t>
            </a:r>
          </a:p>
          <a:p>
            <a:endParaRPr lang="en-US" dirty="0"/>
          </a:p>
        </p:txBody>
      </p:sp>
    </p:spTree>
    <p:extLst>
      <p:ext uri="{BB962C8B-B14F-4D97-AF65-F5344CB8AC3E}">
        <p14:creationId xmlns:p14="http://schemas.microsoft.com/office/powerpoint/2010/main" val="2021496966"/>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C725E-CAFD-4E35-BA0D-A58A4C563AD4}"/>
              </a:ext>
            </a:extLst>
          </p:cNvPr>
          <p:cNvSpPr>
            <a:spLocks noGrp="1"/>
          </p:cNvSpPr>
          <p:nvPr>
            <p:ph type="title"/>
          </p:nvPr>
        </p:nvSpPr>
        <p:spPr/>
        <p:txBody>
          <a:bodyPr/>
          <a:lstStyle/>
          <a:p>
            <a:r>
              <a:rPr lang="en-US" dirty="0"/>
              <a:t>Health Equity</a:t>
            </a:r>
          </a:p>
        </p:txBody>
      </p:sp>
      <p:sp>
        <p:nvSpPr>
          <p:cNvPr id="3" name="Content Placeholder 2">
            <a:extLst>
              <a:ext uri="{FF2B5EF4-FFF2-40B4-BE49-F238E27FC236}">
                <a16:creationId xmlns:a16="http://schemas.microsoft.com/office/drawing/2014/main" id="{50952A9C-659D-4118-B38A-C7661325361A}"/>
              </a:ext>
            </a:extLst>
          </p:cNvPr>
          <p:cNvSpPr>
            <a:spLocks noGrp="1"/>
          </p:cNvSpPr>
          <p:nvPr>
            <p:ph sz="half" idx="1"/>
          </p:nvPr>
        </p:nvSpPr>
        <p:spPr/>
        <p:txBody>
          <a:bodyPr/>
          <a:lstStyle/>
          <a:p>
            <a:pPr marL="457200" marR="0" lvl="0" indent="-457200">
              <a:spcBef>
                <a:spcPts val="0"/>
              </a:spcBef>
              <a:spcAft>
                <a:spcPts val="600"/>
              </a:spcAft>
              <a:buFont typeface="+mj-lt"/>
              <a:buAutoNum type="arabicPeriod" startAt="4"/>
            </a:pPr>
            <a:r>
              <a:rPr lang="en-US" dirty="0">
                <a:effectLst/>
                <a:ea typeface="Times New Roman" panose="02020603050405020304" pitchFamily="18" charset="0"/>
                <a:cs typeface="Times New Roman" panose="02020603050405020304" pitchFamily="18" charset="0"/>
              </a:rPr>
              <a:t>Add a disparities lens to the review of all measures.</a:t>
            </a:r>
          </a:p>
          <a:p>
            <a:pPr marL="742950" marR="0" lvl="1" indent="-285750">
              <a:spcBef>
                <a:spcPts val="0"/>
              </a:spcBef>
              <a:spcAft>
                <a:spcPts val="0"/>
              </a:spcAft>
              <a:buFont typeface="+mj-lt"/>
              <a:buAutoNum type="alphaLcPeriod"/>
            </a:pPr>
            <a:r>
              <a:rPr lang="en-US" b="0" dirty="0">
                <a:effectLst/>
                <a:ea typeface="Times New Roman" panose="02020603050405020304" pitchFamily="18" charset="0"/>
                <a:cs typeface="Times New Roman" panose="02020603050405020304" pitchFamily="18" charset="0"/>
              </a:rPr>
              <a:t>Add consideration of health equity implications to the measure selection criteria.</a:t>
            </a:r>
          </a:p>
          <a:p>
            <a:pPr marL="742950" marR="0" lvl="1" indent="-285750">
              <a:spcBef>
                <a:spcPts val="0"/>
              </a:spcBef>
              <a:spcAft>
                <a:spcPts val="0"/>
              </a:spcAft>
              <a:buFont typeface="+mj-lt"/>
              <a:buAutoNum type="alphaLcPeriod"/>
            </a:pPr>
            <a:r>
              <a:rPr lang="en-US" b="0" dirty="0">
                <a:effectLst/>
                <a:ea typeface="Times New Roman" panose="02020603050405020304" pitchFamily="18" charset="0"/>
                <a:cs typeface="Times New Roman" panose="02020603050405020304" pitchFamily="18" charset="0"/>
              </a:rPr>
              <a:t>Focus the annual review of the Aligned Measure Set for implementation beginning in 2022 on how well the measure set addresses topics and health outcomes of known disparities for certain racial or ethnic populations or by disability status.</a:t>
            </a:r>
          </a:p>
          <a:p>
            <a:pPr marL="342900" marR="0" lvl="0" indent="-342900">
              <a:spcBef>
                <a:spcPts val="0"/>
              </a:spcBef>
              <a:spcAft>
                <a:spcPts val="0"/>
              </a:spcAft>
              <a:buFont typeface="+mj-lt"/>
              <a:buAutoNum type="arabicPeriod" startAt="4"/>
            </a:pPr>
            <a:endParaRPr lang="en-US" sz="1600" b="0" dirty="0">
              <a:effectLs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mj-lt"/>
              <a:buAutoNum type="arabicPeriod" startAt="4"/>
            </a:pPr>
            <a:r>
              <a:rPr lang="en-US" dirty="0">
                <a:effectLst/>
                <a:ea typeface="Times New Roman" panose="02020603050405020304" pitchFamily="18" charset="0"/>
                <a:cs typeface="Times New Roman" panose="02020603050405020304" pitchFamily="18" charset="0"/>
              </a:rPr>
              <a:t>Create a voluntary compact </a:t>
            </a:r>
            <a:r>
              <a:rPr lang="en-US" b="0" dirty="0">
                <a:effectLst/>
                <a:ea typeface="Times New Roman" panose="02020603050405020304" pitchFamily="18" charset="0"/>
                <a:cs typeface="Times New Roman" panose="02020603050405020304" pitchFamily="18" charset="0"/>
              </a:rPr>
              <a:t>among Massachusetts payers and providers committing to improved RELD data collection and stratification of quality measures.</a:t>
            </a:r>
          </a:p>
          <a:p>
            <a:endParaRPr lang="en-US" dirty="0"/>
          </a:p>
        </p:txBody>
      </p:sp>
    </p:spTree>
    <p:extLst>
      <p:ext uri="{BB962C8B-B14F-4D97-AF65-F5344CB8AC3E}">
        <p14:creationId xmlns:p14="http://schemas.microsoft.com/office/powerpoint/2010/main" val="669443259"/>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7C725E-CAFD-4E35-BA0D-A58A4C563AD4}"/>
              </a:ext>
            </a:extLst>
          </p:cNvPr>
          <p:cNvSpPr>
            <a:spLocks noGrp="1"/>
          </p:cNvSpPr>
          <p:nvPr>
            <p:ph type="title"/>
          </p:nvPr>
        </p:nvSpPr>
        <p:spPr/>
        <p:txBody>
          <a:bodyPr/>
          <a:lstStyle/>
          <a:p>
            <a:r>
              <a:rPr lang="en-US" dirty="0"/>
              <a:t>Health Equity</a:t>
            </a:r>
          </a:p>
        </p:txBody>
      </p:sp>
      <p:sp>
        <p:nvSpPr>
          <p:cNvPr id="3" name="Content Placeholder 2">
            <a:extLst>
              <a:ext uri="{FF2B5EF4-FFF2-40B4-BE49-F238E27FC236}">
                <a16:creationId xmlns:a16="http://schemas.microsoft.com/office/drawing/2014/main" id="{50952A9C-659D-4118-B38A-C7661325361A}"/>
              </a:ext>
            </a:extLst>
          </p:cNvPr>
          <p:cNvSpPr>
            <a:spLocks noGrp="1"/>
          </p:cNvSpPr>
          <p:nvPr>
            <p:ph sz="half" idx="1"/>
          </p:nvPr>
        </p:nvSpPr>
        <p:spPr/>
        <p:txBody>
          <a:bodyPr/>
          <a:lstStyle/>
          <a:p>
            <a:r>
              <a:rPr lang="en-US" b="0" dirty="0"/>
              <a:t>Since September, the following relevant actions have occurred:</a:t>
            </a:r>
          </a:p>
          <a:p>
            <a:pPr marL="803275" lvl="1" indent="-457200">
              <a:buFont typeface="+mj-lt"/>
              <a:buAutoNum type="arabicPeriod"/>
            </a:pPr>
            <a:r>
              <a:rPr lang="en-US" b="0" dirty="0"/>
              <a:t>NCQA released a proposal for race and ethnicity stratifications of HEDIS measures.</a:t>
            </a:r>
          </a:p>
          <a:p>
            <a:pPr marL="803275" lvl="1" indent="-457200">
              <a:spcAft>
                <a:spcPts val="1800"/>
              </a:spcAft>
              <a:buFont typeface="+mj-lt"/>
              <a:buAutoNum type="arabicPeriod"/>
            </a:pPr>
            <a:r>
              <a:rPr lang="en-US" b="0" dirty="0"/>
              <a:t>Bailit Health compiled examples of health equity incentive measure use in other states.</a:t>
            </a:r>
          </a:p>
          <a:p>
            <a:pPr marL="803275" lvl="1" indent="-457200">
              <a:spcAft>
                <a:spcPts val="1800"/>
              </a:spcAft>
              <a:buFont typeface="+mj-lt"/>
              <a:buAutoNum type="arabicPeriod"/>
            </a:pPr>
            <a:r>
              <a:rPr lang="en-US" b="0" dirty="0"/>
              <a:t>Mark Friedberg proposed an additional area of equity focus for the Taskforce.</a:t>
            </a:r>
          </a:p>
          <a:p>
            <a:r>
              <a:rPr lang="en-US" b="0" dirty="0"/>
              <a:t>The following slides present this information.</a:t>
            </a:r>
          </a:p>
          <a:p>
            <a:pPr marL="346075" lvl="1" indent="0">
              <a:buNone/>
            </a:pPr>
            <a:endParaRPr lang="en-US" b="0" dirty="0"/>
          </a:p>
        </p:txBody>
      </p:sp>
    </p:spTree>
    <p:extLst>
      <p:ext uri="{BB962C8B-B14F-4D97-AF65-F5344CB8AC3E}">
        <p14:creationId xmlns:p14="http://schemas.microsoft.com/office/powerpoint/2010/main" val="223433127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5087426" cy="762000"/>
          </a:xfrm>
        </p:spPr>
        <p:txBody>
          <a:bodyPr/>
          <a:lstStyle/>
          <a:p>
            <a:r>
              <a:rPr lang="en-US" dirty="0"/>
              <a:t>NCQA Proposal for </a:t>
            </a:r>
            <a:r>
              <a:rPr lang="en-US" dirty="0">
                <a:cs typeface="Times New Roman" panose="02020603050405020304" pitchFamily="18" charset="0"/>
              </a:rPr>
              <a:t>Race and Ethnicity Stratifications</a:t>
            </a:r>
            <a:endParaRPr lang="en-US" dirty="0"/>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4902591"/>
          </a:xfrm>
        </p:spPr>
        <p:txBody>
          <a:bodyPr/>
          <a:lstStyle/>
          <a:p>
            <a:pPr>
              <a:lnSpc>
                <a:spcPct val="107000"/>
              </a:lnSpc>
              <a:spcBef>
                <a:spcPts val="0"/>
              </a:spcBef>
              <a:spcAft>
                <a:spcPts val="0"/>
              </a:spcAft>
            </a:pPr>
            <a:r>
              <a:rPr lang="en-US" b="0" dirty="0">
                <a:effectLst/>
                <a:cs typeface="Times New Roman" panose="02020603050405020304" pitchFamily="18" charset="0"/>
              </a:rPr>
              <a:t>Goal: All plans to report measure performance by race and ethnicity using directly collected member data, in order to encourage health plans to integrate equity into quality measurement efforts.</a:t>
            </a:r>
          </a:p>
          <a:p>
            <a:pPr marL="0" indent="0">
              <a:lnSpc>
                <a:spcPct val="107000"/>
              </a:lnSpc>
              <a:spcBef>
                <a:spcPts val="0"/>
              </a:spcBef>
              <a:spcAft>
                <a:spcPts val="0"/>
              </a:spcAft>
              <a:buNone/>
            </a:pPr>
            <a:endParaRPr lang="en-US" sz="1200" b="0" dirty="0">
              <a:effectLst/>
              <a:cs typeface="Times New Roman" panose="02020603050405020304" pitchFamily="18" charset="0"/>
            </a:endParaRPr>
          </a:p>
          <a:p>
            <a:pPr>
              <a:lnSpc>
                <a:spcPct val="107000"/>
              </a:lnSpc>
              <a:spcBef>
                <a:spcPts val="0"/>
              </a:spcBef>
              <a:spcAft>
                <a:spcPts val="0"/>
              </a:spcAft>
            </a:pPr>
            <a:r>
              <a:rPr lang="en-US" b="0" dirty="0">
                <a:effectLst/>
                <a:cs typeface="Times New Roman" panose="02020603050405020304" pitchFamily="18" charset="0"/>
              </a:rPr>
              <a:t>Timeline: </a:t>
            </a:r>
          </a:p>
          <a:p>
            <a:pPr marL="742950" marR="0" lvl="1" indent="-285750">
              <a:lnSpc>
                <a:spcPct val="107000"/>
              </a:lnSpc>
              <a:spcBef>
                <a:spcPts val="0"/>
              </a:spcBef>
              <a:spcAft>
                <a:spcPts val="0"/>
              </a:spcAft>
              <a:buFont typeface="Symbol" panose="05050102010706020507" pitchFamily="18" charset="2"/>
              <a:buChar char=""/>
            </a:pPr>
            <a:r>
              <a:rPr lang="en-US" b="0" dirty="0">
                <a:effectLst/>
                <a:cs typeface="Times New Roman" panose="02020603050405020304" pitchFamily="18" charset="0"/>
              </a:rPr>
              <a:t>3-year phased approach </a:t>
            </a:r>
          </a:p>
          <a:p>
            <a:pPr marL="742950" marR="0" lvl="1" indent="-285750">
              <a:lnSpc>
                <a:spcPct val="107000"/>
              </a:lnSpc>
              <a:spcBef>
                <a:spcPts val="0"/>
              </a:spcBef>
              <a:spcAft>
                <a:spcPts val="0"/>
              </a:spcAft>
              <a:buFont typeface="Symbol" panose="05050102010706020507" pitchFamily="18" charset="2"/>
              <a:buChar char=""/>
            </a:pPr>
            <a:r>
              <a:rPr lang="en-US" b="0" dirty="0">
                <a:effectLst/>
                <a:cs typeface="Times New Roman" panose="02020603050405020304" pitchFamily="18" charset="0"/>
              </a:rPr>
              <a:t>5 measures will be stratified in MY 2022 </a:t>
            </a:r>
          </a:p>
          <a:p>
            <a:pPr marL="742950" marR="0" lvl="1" indent="-285750">
              <a:lnSpc>
                <a:spcPct val="107000"/>
              </a:lnSpc>
              <a:spcBef>
                <a:spcPts val="0"/>
              </a:spcBef>
              <a:spcAft>
                <a:spcPts val="0"/>
              </a:spcAft>
              <a:buFont typeface="Symbol" panose="05050102010706020507" pitchFamily="18" charset="2"/>
              <a:buChar char=""/>
            </a:pPr>
            <a:r>
              <a:rPr lang="en-US" b="0" dirty="0">
                <a:effectLst/>
                <a:cs typeface="Times New Roman" panose="02020603050405020304" pitchFamily="18" charset="0"/>
              </a:rPr>
              <a:t>minimum of 15 measures stratified by MY 2024</a:t>
            </a:r>
          </a:p>
          <a:p>
            <a:pPr marL="457200" marR="0" lvl="1" indent="0">
              <a:lnSpc>
                <a:spcPct val="107000"/>
              </a:lnSpc>
              <a:spcBef>
                <a:spcPts val="0"/>
              </a:spcBef>
              <a:spcAft>
                <a:spcPts val="0"/>
              </a:spcAft>
              <a:buNone/>
            </a:pPr>
            <a:endParaRPr lang="en-US" sz="1200" b="0" dirty="0">
              <a:effectLst/>
              <a:cs typeface="Times New Roman" panose="02020603050405020304" pitchFamily="18" charset="0"/>
            </a:endParaRPr>
          </a:p>
          <a:p>
            <a:pPr>
              <a:lnSpc>
                <a:spcPct val="107000"/>
              </a:lnSpc>
              <a:spcBef>
                <a:spcPts val="0"/>
              </a:spcBef>
              <a:spcAft>
                <a:spcPts val="0"/>
              </a:spcAft>
            </a:pPr>
            <a:r>
              <a:rPr lang="en-US" b="0" dirty="0">
                <a:effectLst/>
                <a:cs typeface="Times New Roman" panose="02020603050405020304" pitchFamily="18" charset="0"/>
              </a:rPr>
              <a:t>Race and Ethnicity </a:t>
            </a:r>
            <a:r>
              <a:rPr lang="en-US" b="0" dirty="0">
                <a:cs typeface="Times New Roman" panose="02020603050405020304" pitchFamily="18" charset="0"/>
              </a:rPr>
              <a:t>S</a:t>
            </a:r>
            <a:r>
              <a:rPr lang="en-US" b="0" dirty="0">
                <a:effectLst/>
                <a:cs typeface="Times New Roman" panose="02020603050405020304" pitchFamily="18" charset="0"/>
              </a:rPr>
              <a:t>tratifications will be: </a:t>
            </a:r>
          </a:p>
          <a:p>
            <a:pPr marL="742950" marR="0" lvl="1" indent="-285750">
              <a:lnSpc>
                <a:spcPct val="107000"/>
              </a:lnSpc>
              <a:spcBef>
                <a:spcPts val="0"/>
              </a:spcBef>
              <a:spcAft>
                <a:spcPts val="0"/>
              </a:spcAft>
              <a:buFont typeface="Symbol" panose="05050102010706020507" pitchFamily="18" charset="2"/>
              <a:buChar char=""/>
            </a:pPr>
            <a:r>
              <a:rPr lang="en-US" b="0" dirty="0">
                <a:effectLst/>
                <a:cs typeface="Times New Roman" panose="02020603050405020304" pitchFamily="18" charset="0"/>
              </a:rPr>
              <a:t>reported separately</a:t>
            </a:r>
          </a:p>
          <a:p>
            <a:pPr marL="742950" marR="0" lvl="1" indent="-285750">
              <a:lnSpc>
                <a:spcPct val="107000"/>
              </a:lnSpc>
              <a:spcBef>
                <a:spcPts val="0"/>
              </a:spcBef>
              <a:spcAft>
                <a:spcPts val="0"/>
              </a:spcAft>
              <a:buFont typeface="Symbol" panose="05050102010706020507" pitchFamily="18" charset="2"/>
              <a:buChar char=""/>
            </a:pPr>
            <a:r>
              <a:rPr lang="en-US" b="0" dirty="0">
                <a:effectLst/>
                <a:cs typeface="Times New Roman" panose="02020603050405020304" pitchFamily="18" charset="0"/>
              </a:rPr>
              <a:t>defined according to an existing HEDIS descriptive measure, Race/Ethnicity Diversity of Membership (RDM)</a:t>
            </a:r>
          </a:p>
        </p:txBody>
      </p:sp>
    </p:spTree>
    <p:extLst>
      <p:ext uri="{BB962C8B-B14F-4D97-AF65-F5344CB8AC3E}">
        <p14:creationId xmlns:p14="http://schemas.microsoft.com/office/powerpoint/2010/main" val="67616109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5087426" cy="762000"/>
          </a:xfrm>
        </p:spPr>
        <p:txBody>
          <a:bodyPr/>
          <a:lstStyle/>
          <a:p>
            <a:r>
              <a:rPr lang="en-US" dirty="0"/>
              <a:t>NCQA Proposal for </a:t>
            </a:r>
            <a:r>
              <a:rPr lang="en-US" dirty="0">
                <a:cs typeface="Times New Roman" panose="02020603050405020304" pitchFamily="18" charset="0"/>
              </a:rPr>
              <a:t>Race and Ethnicity Stratifications</a:t>
            </a:r>
            <a:endParaRPr lang="en-US" dirty="0"/>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600"/>
            <a:ext cx="8077200" cy="4747846"/>
          </a:xfrm>
        </p:spPr>
        <p:txBody>
          <a:bodyPr/>
          <a:lstStyle/>
          <a:p>
            <a:pPr>
              <a:lnSpc>
                <a:spcPct val="107000"/>
              </a:lnSpc>
              <a:spcBef>
                <a:spcPts val="0"/>
              </a:spcBef>
              <a:spcAft>
                <a:spcPts val="0"/>
              </a:spcAft>
            </a:pPr>
            <a:r>
              <a:rPr lang="en-US" dirty="0">
                <a:effectLst/>
                <a:cs typeface="Times New Roman" panose="02020603050405020304" pitchFamily="18" charset="0"/>
              </a:rPr>
              <a:t>Direct data collection is the gold standard, using a phased approach:</a:t>
            </a:r>
          </a:p>
          <a:p>
            <a:pPr marL="0" marR="0" lvl="0" indent="0">
              <a:lnSpc>
                <a:spcPct val="107000"/>
              </a:lnSpc>
              <a:spcBef>
                <a:spcPts val="0"/>
              </a:spcBef>
              <a:spcAft>
                <a:spcPts val="0"/>
              </a:spcAft>
              <a:buNone/>
            </a:pPr>
            <a:endParaRPr lang="en-US" sz="1000" dirty="0">
              <a:effectLst/>
              <a:cs typeface="Times New Roman" panose="02020603050405020304" pitchFamily="18" charset="0"/>
            </a:endParaRPr>
          </a:p>
          <a:p>
            <a:pPr marL="701675" lvl="2">
              <a:lnSpc>
                <a:spcPct val="107000"/>
              </a:lnSpc>
              <a:spcBef>
                <a:spcPts val="0"/>
              </a:spcBef>
              <a:spcAft>
                <a:spcPts val="0"/>
              </a:spcAft>
              <a:buFont typeface="Symbol" panose="05050102010706020507" pitchFamily="18" charset="2"/>
              <a:buChar char=""/>
            </a:pPr>
            <a:r>
              <a:rPr lang="en-US" sz="2000" dirty="0">
                <a:effectLst/>
                <a:latin typeface="Book Antiqua" panose="02040602050305030304" pitchFamily="18" charset="0"/>
                <a:cs typeface="Times New Roman" panose="02020603050405020304" pitchFamily="18" charset="0"/>
              </a:rPr>
              <a:t>Plans must meet a direct data completeness threshold of 80% for race and 80% for ethnicity to report using their own direct data</a:t>
            </a:r>
          </a:p>
          <a:p>
            <a:pPr marL="701675" lvl="2">
              <a:lnSpc>
                <a:spcPct val="107000"/>
              </a:lnSpc>
              <a:spcBef>
                <a:spcPts val="0"/>
              </a:spcBef>
              <a:spcAft>
                <a:spcPts val="0"/>
              </a:spcAft>
              <a:buFont typeface="Symbol" panose="05050102010706020507" pitchFamily="18" charset="2"/>
              <a:buChar char=""/>
            </a:pPr>
            <a:r>
              <a:rPr lang="en-US" sz="2000" dirty="0">
                <a:effectLst/>
                <a:latin typeface="Book Antiqua" panose="02040602050305030304" pitchFamily="18" charset="0"/>
                <a:cs typeface="Times New Roman" panose="02020603050405020304" pitchFamily="18" charset="0"/>
              </a:rPr>
              <a:t>Plans not meeting the data completeness threshold will be required to report the stratification using an approved method of indirect race and ethnicity assignment (two approaches are under consideration)</a:t>
            </a:r>
          </a:p>
          <a:p>
            <a:pPr marL="358775" lvl="2" indent="0">
              <a:lnSpc>
                <a:spcPct val="107000"/>
              </a:lnSpc>
              <a:spcBef>
                <a:spcPts val="0"/>
              </a:spcBef>
              <a:spcAft>
                <a:spcPts val="0"/>
              </a:spcAft>
            </a:pPr>
            <a:endParaRPr lang="en-US" sz="1600" dirty="0">
              <a:effectLst/>
              <a:latin typeface="Book Antiqua" panose="02040602050305030304" pitchFamily="18" charset="0"/>
              <a:cs typeface="Times New Roman" panose="02020603050405020304" pitchFamily="18" charset="0"/>
            </a:endParaRPr>
          </a:p>
          <a:p>
            <a:pPr>
              <a:lnSpc>
                <a:spcPct val="107000"/>
              </a:lnSpc>
              <a:spcBef>
                <a:spcPts val="0"/>
              </a:spcBef>
              <a:spcAft>
                <a:spcPts val="800"/>
              </a:spcAft>
            </a:pPr>
            <a:r>
              <a:rPr lang="en-US" dirty="0">
                <a:effectLst/>
                <a:cs typeface="Times New Roman" panose="02020603050405020304" pitchFamily="18" charset="0"/>
              </a:rPr>
              <a:t>NCQA </a:t>
            </a:r>
            <a:r>
              <a:rPr lang="en-US" dirty="0">
                <a:cs typeface="Times New Roman" panose="02020603050405020304" pitchFamily="18" charset="0"/>
              </a:rPr>
              <a:t>will c</a:t>
            </a:r>
            <a:r>
              <a:rPr lang="en-US" dirty="0">
                <a:effectLst/>
                <a:cs typeface="Times New Roman" panose="02020603050405020304" pitchFamily="18" charset="0"/>
              </a:rPr>
              <a:t>onvene a Health Equity Expert Work Group throughout 2021 to gather ongoing feedback and finalize the stratification specification.</a:t>
            </a:r>
          </a:p>
          <a:p>
            <a:endParaRPr lang="en-US" dirty="0"/>
          </a:p>
        </p:txBody>
      </p:sp>
    </p:spTree>
    <p:extLst>
      <p:ext uri="{BB962C8B-B14F-4D97-AF65-F5344CB8AC3E}">
        <p14:creationId xmlns:p14="http://schemas.microsoft.com/office/powerpoint/2010/main" val="31564906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p:txBody>
          <a:bodyPr/>
          <a:lstStyle/>
          <a:p>
            <a:r>
              <a:rPr lang="en-US" dirty="0"/>
              <a:t>NCQA Proposed Candidate List for Race &amp; Ethnicity Stratification </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062109"/>
            <a:ext cx="8077200" cy="5226149"/>
          </a:xfrm>
        </p:spPr>
        <p:txBody>
          <a:bodyPr/>
          <a:lstStyle/>
          <a:p>
            <a:pPr marL="0" indent="0">
              <a:buNone/>
            </a:pPr>
            <a:r>
              <a:rPr lang="en-US" u="sng" dirty="0">
                <a:effectLst/>
                <a:cs typeface="Times New Roman" panose="02020603050405020304" pitchFamily="18" charset="0"/>
              </a:rPr>
              <a:t>For Measurement Year 2022</a:t>
            </a:r>
          </a:p>
          <a:p>
            <a:pPr>
              <a:spcBef>
                <a:spcPts val="300"/>
              </a:spcBef>
              <a:spcAft>
                <a:spcPts val="300"/>
              </a:spcAft>
            </a:pPr>
            <a:r>
              <a:rPr lang="en-US" b="0" dirty="0">
                <a:solidFill>
                  <a:srgbClr val="4472C4"/>
                </a:solidFill>
                <a:effectLst/>
                <a:cs typeface="Times New Roman" panose="02020603050405020304" pitchFamily="18" charset="0"/>
              </a:rPr>
              <a:t>Controlling High Blood Pressure (CBP) </a:t>
            </a:r>
          </a:p>
          <a:p>
            <a:pPr>
              <a:spcBef>
                <a:spcPts val="300"/>
              </a:spcBef>
              <a:spcAft>
                <a:spcPts val="300"/>
              </a:spcAft>
            </a:pPr>
            <a:r>
              <a:rPr lang="en-US" b="0" dirty="0">
                <a:effectLst/>
                <a:cs typeface="Times New Roman" panose="02020603050405020304" pitchFamily="18" charset="0"/>
              </a:rPr>
              <a:t>Comprehensive Diabetes Care (CDC): HbA1c Control &lt;8%</a:t>
            </a:r>
          </a:p>
          <a:p>
            <a:pPr>
              <a:spcBef>
                <a:spcPts val="300"/>
              </a:spcBef>
              <a:spcAft>
                <a:spcPts val="300"/>
              </a:spcAft>
            </a:pPr>
            <a:r>
              <a:rPr lang="en-US" b="0" dirty="0">
                <a:solidFill>
                  <a:srgbClr val="4472C4"/>
                </a:solidFill>
                <a:effectLst/>
                <a:cs typeface="Times New Roman" panose="02020603050405020304" pitchFamily="18" charset="0"/>
              </a:rPr>
              <a:t>Comprehensive Diabetes Care (CDC): Eye Exam</a:t>
            </a:r>
            <a:endParaRPr lang="en-US" b="0" dirty="0">
              <a:solidFill>
                <a:srgbClr val="4472C4"/>
              </a:solidFill>
              <a:cs typeface="Times New Roman" panose="02020603050405020304" pitchFamily="18" charset="0"/>
            </a:endParaRPr>
          </a:p>
          <a:p>
            <a:pPr>
              <a:spcBef>
                <a:spcPts val="300"/>
              </a:spcBef>
              <a:spcAft>
                <a:spcPts val="300"/>
              </a:spcAft>
            </a:pPr>
            <a:r>
              <a:rPr lang="en-US" b="0" dirty="0">
                <a:effectLst/>
                <a:cs typeface="Times New Roman" panose="02020603050405020304" pitchFamily="18" charset="0"/>
              </a:rPr>
              <a:t>Antidepressant Medication Management (AMM)  </a:t>
            </a:r>
          </a:p>
          <a:p>
            <a:pPr>
              <a:spcBef>
                <a:spcPts val="300"/>
              </a:spcBef>
              <a:spcAft>
                <a:spcPts val="300"/>
              </a:spcAft>
            </a:pPr>
            <a:r>
              <a:rPr lang="en-US" b="0" dirty="0">
                <a:effectLst/>
                <a:cs typeface="Times New Roman" panose="02020603050405020304" pitchFamily="18" charset="0"/>
              </a:rPr>
              <a:t>Follow-Up After Emergency Department Visit for People With Multiple High-Risk Chronic Conditions (FMC)</a:t>
            </a:r>
          </a:p>
          <a:p>
            <a:pPr>
              <a:spcBef>
                <a:spcPts val="300"/>
              </a:spcBef>
              <a:spcAft>
                <a:spcPts val="300"/>
              </a:spcAft>
            </a:pPr>
            <a:r>
              <a:rPr lang="en-US" b="0" dirty="0">
                <a:effectLst/>
                <a:cs typeface="Times New Roman" panose="02020603050405020304" pitchFamily="18" charset="0"/>
              </a:rPr>
              <a:t>Adults’ Access to Preventive/Ambulatory Health Services (AAP)</a:t>
            </a:r>
          </a:p>
          <a:p>
            <a:pPr>
              <a:spcBef>
                <a:spcPts val="300"/>
              </a:spcBef>
              <a:spcAft>
                <a:spcPts val="300"/>
              </a:spcAft>
            </a:pPr>
            <a:r>
              <a:rPr lang="en-US" b="0" dirty="0">
                <a:solidFill>
                  <a:srgbClr val="4472C4"/>
                </a:solidFill>
                <a:effectLst/>
                <a:cs typeface="Times New Roman" panose="02020603050405020304" pitchFamily="18" charset="0"/>
              </a:rPr>
              <a:t>Prenatal and Postpartum Care (PPC) </a:t>
            </a:r>
            <a:endParaRPr lang="en-US" b="0" dirty="0">
              <a:cs typeface="Times New Roman" panose="02020603050405020304" pitchFamily="18" charset="0"/>
            </a:endParaRPr>
          </a:p>
          <a:p>
            <a:pPr>
              <a:spcBef>
                <a:spcPts val="300"/>
              </a:spcBef>
              <a:spcAft>
                <a:spcPts val="300"/>
              </a:spcAft>
            </a:pPr>
            <a:r>
              <a:rPr lang="en-US" b="0" dirty="0">
                <a:solidFill>
                  <a:srgbClr val="4472C4"/>
                </a:solidFill>
                <a:effectLst/>
                <a:cs typeface="Times New Roman" panose="02020603050405020304" pitchFamily="18" charset="0"/>
              </a:rPr>
              <a:t>Well-Child Visits in the First 30 Months of Life (W30)</a:t>
            </a:r>
            <a:endParaRPr lang="en-US" b="0" dirty="0">
              <a:solidFill>
                <a:srgbClr val="4472C4"/>
              </a:solidFill>
              <a:cs typeface="Times New Roman" panose="02020603050405020304" pitchFamily="18" charset="0"/>
            </a:endParaRPr>
          </a:p>
          <a:p>
            <a:pPr>
              <a:spcBef>
                <a:spcPts val="300"/>
              </a:spcBef>
              <a:spcAft>
                <a:spcPts val="300"/>
              </a:spcAft>
            </a:pPr>
            <a:r>
              <a:rPr lang="en-US" b="0" dirty="0">
                <a:effectLst/>
                <a:cs typeface="Times New Roman" panose="02020603050405020304" pitchFamily="18" charset="0"/>
              </a:rPr>
              <a:t>Child and Adolescent Well-Care Visits (WCV) </a:t>
            </a:r>
          </a:p>
          <a:p>
            <a:pPr>
              <a:spcBef>
                <a:spcPts val="300"/>
              </a:spcBef>
              <a:spcAft>
                <a:spcPts val="300"/>
              </a:spcAft>
            </a:pPr>
            <a:r>
              <a:rPr lang="en-US" b="0" dirty="0">
                <a:effectLst/>
                <a:cs typeface="Times New Roman" panose="02020603050405020304" pitchFamily="18" charset="0"/>
              </a:rPr>
              <a:t>Mental Health Utilization (MPT) </a:t>
            </a:r>
          </a:p>
          <a:p>
            <a:pPr marL="0" marR="0" indent="0">
              <a:lnSpc>
                <a:spcPct val="107000"/>
              </a:lnSpc>
              <a:spcBef>
                <a:spcPts val="300"/>
              </a:spcBef>
              <a:spcAft>
                <a:spcPts val="300"/>
              </a:spcAft>
              <a:buNone/>
            </a:pPr>
            <a:endParaRPr lang="en-US" sz="1200" b="0" i="1" dirty="0">
              <a:solidFill>
                <a:srgbClr val="4472C4"/>
              </a:solidFill>
              <a:effectLst/>
              <a:cs typeface="Times New Roman" panose="02020603050405020304" pitchFamily="18" charset="0"/>
            </a:endParaRPr>
          </a:p>
          <a:p>
            <a:pPr marL="0" marR="0" indent="0">
              <a:lnSpc>
                <a:spcPct val="107000"/>
              </a:lnSpc>
              <a:spcBef>
                <a:spcPts val="300"/>
              </a:spcBef>
              <a:spcAft>
                <a:spcPts val="300"/>
              </a:spcAft>
              <a:buNone/>
            </a:pPr>
            <a:r>
              <a:rPr lang="en-US" sz="1800" b="0" i="1" dirty="0">
                <a:solidFill>
                  <a:srgbClr val="4472C4"/>
                </a:solidFill>
                <a:effectLst/>
                <a:cs typeface="Times New Roman" panose="02020603050405020304" pitchFamily="18" charset="0"/>
              </a:rPr>
              <a:t>Indicates measure is included in MA Aligned Measure Set</a:t>
            </a:r>
            <a:endParaRPr lang="en-US" sz="1800" b="0" dirty="0">
              <a:effectLst/>
              <a:cs typeface="Times New Roman" panose="02020603050405020304" pitchFamily="18" charset="0"/>
            </a:endParaRPr>
          </a:p>
          <a:p>
            <a:pPr marL="0" indent="0">
              <a:buNone/>
            </a:pPr>
            <a:endParaRPr lang="en-US" dirty="0"/>
          </a:p>
          <a:p>
            <a:pPr lvl="1"/>
            <a:endParaRPr lang="en-US" dirty="0"/>
          </a:p>
          <a:p>
            <a:endParaRPr lang="en-US" dirty="0"/>
          </a:p>
          <a:p>
            <a:endParaRPr lang="en-US" dirty="0"/>
          </a:p>
        </p:txBody>
      </p:sp>
    </p:spTree>
    <p:extLst>
      <p:ext uri="{BB962C8B-B14F-4D97-AF65-F5344CB8AC3E}">
        <p14:creationId xmlns:p14="http://schemas.microsoft.com/office/powerpoint/2010/main" val="503826769"/>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65AEE-6DA2-4734-BC8C-F528C1D187E7}"/>
              </a:ext>
            </a:extLst>
          </p:cNvPr>
          <p:cNvSpPr>
            <a:spLocks noGrp="1"/>
          </p:cNvSpPr>
          <p:nvPr>
            <p:ph type="title"/>
          </p:nvPr>
        </p:nvSpPr>
        <p:spPr/>
        <p:txBody>
          <a:bodyPr/>
          <a:lstStyle/>
          <a:p>
            <a:r>
              <a:rPr lang="en-US" dirty="0"/>
              <a:t>Health Equity: </a:t>
            </a:r>
            <a:br>
              <a:rPr lang="en-US" dirty="0"/>
            </a:br>
            <a:r>
              <a:rPr lang="en-US" dirty="0"/>
              <a:t>Approaches in Other States</a:t>
            </a:r>
          </a:p>
        </p:txBody>
      </p:sp>
      <p:sp>
        <p:nvSpPr>
          <p:cNvPr id="3" name="Content Placeholder 2">
            <a:extLst>
              <a:ext uri="{FF2B5EF4-FFF2-40B4-BE49-F238E27FC236}">
                <a16:creationId xmlns:a16="http://schemas.microsoft.com/office/drawing/2014/main" id="{A4B18751-5999-4242-825E-F8EB2220B7A5}"/>
              </a:ext>
            </a:extLst>
          </p:cNvPr>
          <p:cNvSpPr>
            <a:spLocks noGrp="1"/>
          </p:cNvSpPr>
          <p:nvPr>
            <p:ph sz="half" idx="1"/>
          </p:nvPr>
        </p:nvSpPr>
        <p:spPr>
          <a:xfrm>
            <a:off x="239151" y="1132449"/>
            <a:ext cx="8553157" cy="5296486"/>
          </a:xfrm>
        </p:spPr>
        <p:txBody>
          <a:bodyPr/>
          <a:lstStyle/>
          <a:p>
            <a:pPr lvl="1">
              <a:spcBef>
                <a:spcPts val="600"/>
              </a:spcBef>
              <a:spcAft>
                <a:spcPts val="600"/>
              </a:spcAft>
              <a:buFont typeface="Wingdings" panose="05000000000000000000" pitchFamily="2" charset="2"/>
              <a:buChar char="§"/>
            </a:pPr>
            <a:r>
              <a:rPr lang="en-US" b="0" dirty="0"/>
              <a:t>The Taskforce decided against considering a health equity measure per se for the Measure Set.  For information purposes, however, we share examples of equity-focused measures in use in two states for financial incentive purposes.</a:t>
            </a:r>
          </a:p>
          <a:p>
            <a:pPr lvl="1">
              <a:spcBef>
                <a:spcPts val="600"/>
              </a:spcBef>
              <a:spcAft>
                <a:spcPts val="600"/>
              </a:spcAft>
              <a:buFont typeface="Wingdings" panose="05000000000000000000" pitchFamily="2" charset="2"/>
              <a:buChar char="§"/>
            </a:pPr>
            <a:endParaRPr lang="en-US" sz="500" b="0" dirty="0"/>
          </a:p>
          <a:p>
            <a:pPr lvl="1">
              <a:spcBef>
                <a:spcPts val="0"/>
              </a:spcBef>
              <a:spcAft>
                <a:spcPts val="600"/>
              </a:spcAft>
              <a:buFont typeface="Wingdings" panose="05000000000000000000" pitchFamily="2" charset="2"/>
              <a:buChar char="§"/>
            </a:pPr>
            <a:r>
              <a:rPr lang="en-US" b="0" dirty="0"/>
              <a:t>Michigan Medicaid </a:t>
            </a:r>
          </a:p>
          <a:p>
            <a:pPr marL="800100" lvl="1" indent="-342900" defTabSz="85725" eaLnBrk="0" hangingPunct="0">
              <a:spcBef>
                <a:spcPct val="20000"/>
              </a:spcBef>
              <a:spcAft>
                <a:spcPct val="0"/>
              </a:spcAft>
              <a:buFont typeface="Wingdings" panose="05000000000000000000" pitchFamily="2" charset="2"/>
              <a:buChar char="ü"/>
              <a:defRPr/>
            </a:pPr>
            <a:r>
              <a:rPr lang="en-US" sz="1800" b="0" dirty="0"/>
              <a:t>Health disparity reduction: HEDIS measures and low birthweight</a:t>
            </a:r>
          </a:p>
          <a:p>
            <a:pPr marL="1146175" lvl="3" defTabSz="85725" eaLnBrk="0" hangingPunct="0">
              <a:spcBef>
                <a:spcPts val="0"/>
              </a:spcBef>
              <a:spcAft>
                <a:spcPts val="0"/>
              </a:spcAft>
              <a:buFont typeface="Arial" panose="020B0604020202020204" pitchFamily="34" charset="0"/>
              <a:buChar char="•"/>
              <a:defRPr/>
            </a:pPr>
            <a:r>
              <a:rPr lang="en-US" altLang="en-US" b="0" dirty="0">
                <a:solidFill>
                  <a:schemeClr val="tx1"/>
                </a:solidFill>
                <a:latin typeface="Book Antiqua" panose="02040602050305030304" pitchFamily="18" charset="0"/>
              </a:rPr>
              <a:t>Pairwise comparison (white reference population)</a:t>
            </a:r>
          </a:p>
          <a:p>
            <a:pPr marL="1146175" lvl="3" defTabSz="85725" eaLnBrk="0" hangingPunct="0">
              <a:spcBef>
                <a:spcPts val="0"/>
              </a:spcBef>
              <a:spcAft>
                <a:spcPts val="0"/>
              </a:spcAft>
              <a:buFont typeface="Arial" panose="020B0604020202020204" pitchFamily="34" charset="0"/>
              <a:buChar char="•"/>
              <a:defRPr/>
            </a:pPr>
            <a:r>
              <a:rPr lang="en-US" altLang="en-US" b="0" dirty="0">
                <a:solidFill>
                  <a:schemeClr val="tx1"/>
                </a:solidFill>
                <a:latin typeface="Book Antiqua" panose="02040602050305030304" pitchFamily="18" charset="0"/>
              </a:rPr>
              <a:t>Index of Disparity (</a:t>
            </a:r>
            <a:r>
              <a:rPr lang="en-US" b="0" dirty="0">
                <a:solidFill>
                  <a:schemeClr val="tx1"/>
                </a:solidFill>
                <a:latin typeface="Book Antiqua" panose="02040602050305030304" pitchFamily="18" charset="0"/>
              </a:rPr>
              <a:t>describes how much disparity exists in the entire population for one indicator by combining the disparity experienced by all subgroups into one measure</a:t>
            </a:r>
            <a:r>
              <a:rPr lang="en-US" altLang="en-US" sz="1600" b="0" dirty="0">
                <a:solidFill>
                  <a:schemeClr val="tx1"/>
                </a:solidFill>
                <a:latin typeface="Book Antiqua" panose="02040602050305030304" pitchFamily="18" charset="0"/>
              </a:rPr>
              <a:t>)</a:t>
            </a:r>
          </a:p>
          <a:p>
            <a:pPr marL="800100" lvl="1" indent="-342900" defTabSz="85725" eaLnBrk="0" fontAlgn="base" hangingPunct="0">
              <a:spcBef>
                <a:spcPct val="20000"/>
              </a:spcBef>
              <a:spcAft>
                <a:spcPct val="0"/>
              </a:spcAft>
              <a:buFont typeface="Wingdings" panose="05000000000000000000" pitchFamily="2" charset="2"/>
              <a:buChar char="ü"/>
              <a:defRPr/>
            </a:pPr>
            <a:endParaRPr lang="en-US" altLang="en-US" sz="600" b="0" dirty="0">
              <a:solidFill>
                <a:prstClr val="black"/>
              </a:solidFill>
            </a:endParaRPr>
          </a:p>
          <a:p>
            <a:pPr lvl="1">
              <a:spcBef>
                <a:spcPts val="600"/>
              </a:spcBef>
              <a:spcAft>
                <a:spcPts val="600"/>
              </a:spcAft>
              <a:buFont typeface="Wingdings" panose="05000000000000000000" pitchFamily="2" charset="2"/>
              <a:buChar char="§"/>
            </a:pPr>
            <a:r>
              <a:rPr lang="en-US" b="0" dirty="0"/>
              <a:t>Oregon Medicaid:</a:t>
            </a:r>
          </a:p>
          <a:p>
            <a:pPr marL="800100" lvl="1" indent="-342900" defTabSz="85725" eaLnBrk="0" fontAlgn="base" hangingPunct="0">
              <a:spcBef>
                <a:spcPct val="20000"/>
              </a:spcBef>
              <a:spcAft>
                <a:spcPct val="0"/>
              </a:spcAft>
              <a:buFont typeface="Wingdings" panose="05000000000000000000" pitchFamily="2" charset="2"/>
              <a:buChar char="ü"/>
              <a:defRPr/>
            </a:pPr>
            <a:r>
              <a:rPr lang="en-US" sz="1800" b="0" dirty="0"/>
              <a:t>Emergency Department Utilization for Individuals Experiencing Mental Illness </a:t>
            </a:r>
          </a:p>
          <a:p>
            <a:pPr marL="800100" lvl="1" indent="-342900" defTabSz="85725" eaLnBrk="0" fontAlgn="base" hangingPunct="0">
              <a:spcBef>
                <a:spcPct val="20000"/>
              </a:spcBef>
              <a:spcAft>
                <a:spcPct val="0"/>
              </a:spcAft>
              <a:buFont typeface="Wingdings" panose="05000000000000000000" pitchFamily="2" charset="2"/>
              <a:buChar char="ü"/>
              <a:defRPr/>
            </a:pPr>
            <a:r>
              <a:rPr lang="en-US" sz="1800" b="0" dirty="0"/>
              <a:t>Meaningful Access to Health Care Services for Persons with Limited English Proficiency </a:t>
            </a:r>
          </a:p>
          <a:p>
            <a:endParaRPr lang="en-US" dirty="0"/>
          </a:p>
        </p:txBody>
      </p:sp>
    </p:spTree>
    <p:extLst>
      <p:ext uri="{BB962C8B-B14F-4D97-AF65-F5344CB8AC3E}">
        <p14:creationId xmlns:p14="http://schemas.microsoft.com/office/powerpoint/2010/main" val="42345181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65AEE-6DA2-4734-BC8C-F528C1D187E7}"/>
              </a:ext>
            </a:extLst>
          </p:cNvPr>
          <p:cNvSpPr>
            <a:spLocks noGrp="1"/>
          </p:cNvSpPr>
          <p:nvPr>
            <p:ph type="title"/>
          </p:nvPr>
        </p:nvSpPr>
        <p:spPr/>
        <p:txBody>
          <a:bodyPr/>
          <a:lstStyle/>
          <a:p>
            <a:r>
              <a:rPr lang="en-US" dirty="0"/>
              <a:t>Health Equity: </a:t>
            </a:r>
            <a:br>
              <a:rPr lang="en-US" dirty="0"/>
            </a:br>
            <a:r>
              <a:rPr lang="en-US" dirty="0"/>
              <a:t>Mark Friedberg’s Suggestion</a:t>
            </a:r>
          </a:p>
        </p:txBody>
      </p:sp>
      <p:sp>
        <p:nvSpPr>
          <p:cNvPr id="3" name="Content Placeholder 2">
            <a:extLst>
              <a:ext uri="{FF2B5EF4-FFF2-40B4-BE49-F238E27FC236}">
                <a16:creationId xmlns:a16="http://schemas.microsoft.com/office/drawing/2014/main" id="{A4B18751-5999-4242-825E-F8EB2220B7A5}"/>
              </a:ext>
            </a:extLst>
          </p:cNvPr>
          <p:cNvSpPr>
            <a:spLocks noGrp="1"/>
          </p:cNvSpPr>
          <p:nvPr>
            <p:ph sz="half" idx="1"/>
          </p:nvPr>
        </p:nvSpPr>
        <p:spPr>
          <a:xfrm>
            <a:off x="736600" y="1448972"/>
            <a:ext cx="7563338" cy="4726746"/>
          </a:xfrm>
        </p:spPr>
        <p:txBody>
          <a:bodyPr/>
          <a:lstStyle/>
          <a:p>
            <a:r>
              <a:rPr lang="en-US" b="0" u="sng" dirty="0"/>
              <a:t>Proposal</a:t>
            </a:r>
            <a:r>
              <a:rPr lang="en-US" b="0" dirty="0"/>
              <a:t>: Partner with a national organization(s) to develop a standard method for assessing the accuracy of the patient-level race and ethnicity data used in any equity-based performance incentive, partitioning the random and systematic components, since these have different implications for validity. </a:t>
            </a:r>
          </a:p>
          <a:p>
            <a:r>
              <a:rPr lang="en-US" b="0" u="sng" dirty="0"/>
              <a:t>Rationale</a:t>
            </a:r>
            <a:r>
              <a:rPr lang="en-US" b="0" dirty="0"/>
              <a:t>: This issue applies to all performance measures.  It is necessary to address if disparity reduction-focused measures are to be integrated into value-based contracts.</a:t>
            </a:r>
            <a:endParaRPr lang="en-US" sz="500" b="0" dirty="0"/>
          </a:p>
          <a:p>
            <a:endParaRPr lang="en-US" dirty="0"/>
          </a:p>
        </p:txBody>
      </p:sp>
    </p:spTree>
    <p:extLst>
      <p:ext uri="{BB962C8B-B14F-4D97-AF65-F5344CB8AC3E}">
        <p14:creationId xmlns:p14="http://schemas.microsoft.com/office/powerpoint/2010/main" val="418125810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4211F-0C01-4EC1-964E-9966E2523F23}"/>
              </a:ext>
            </a:extLst>
          </p:cNvPr>
          <p:cNvSpPr>
            <a:spLocks noGrp="1"/>
          </p:cNvSpPr>
          <p:nvPr>
            <p:ph type="title"/>
          </p:nvPr>
        </p:nvSpPr>
        <p:spPr/>
        <p:txBody>
          <a:bodyPr/>
          <a:lstStyle/>
          <a:p>
            <a:r>
              <a:rPr lang="en-US" dirty="0"/>
              <a:t>Health Equity: Measure Option #1</a:t>
            </a:r>
            <a:br>
              <a:rPr lang="en-US" dirty="0"/>
            </a:br>
            <a:r>
              <a:rPr lang="en-US" dirty="0"/>
              <a:t>RELD Data Collection</a:t>
            </a:r>
          </a:p>
        </p:txBody>
      </p:sp>
      <p:sp>
        <p:nvSpPr>
          <p:cNvPr id="3" name="Content Placeholder 2">
            <a:extLst>
              <a:ext uri="{FF2B5EF4-FFF2-40B4-BE49-F238E27FC236}">
                <a16:creationId xmlns:a16="http://schemas.microsoft.com/office/drawing/2014/main" id="{1C31389C-7B7F-4C4D-AA2F-63843E0A80FF}"/>
              </a:ext>
            </a:extLst>
          </p:cNvPr>
          <p:cNvSpPr>
            <a:spLocks noGrp="1"/>
          </p:cNvSpPr>
          <p:nvPr>
            <p:ph sz="half" idx="1"/>
          </p:nvPr>
        </p:nvSpPr>
        <p:spPr>
          <a:xfrm>
            <a:off x="295421" y="1150883"/>
            <a:ext cx="8187397" cy="5404662"/>
          </a:xfrm>
        </p:spPr>
        <p:txBody>
          <a:bodyPr/>
          <a:lstStyle/>
          <a:p>
            <a:pPr lvl="1">
              <a:spcAft>
                <a:spcPts val="600"/>
              </a:spcAft>
            </a:pPr>
            <a:r>
              <a:rPr lang="en-US" b="0" u="sng" dirty="0">
                <a:ea typeface="Times New Roman" panose="02020603050405020304" pitchFamily="18" charset="0"/>
                <a:cs typeface="Times New Roman" panose="02020603050405020304" pitchFamily="18" charset="0"/>
              </a:rPr>
              <a:t>Measure concept</a:t>
            </a:r>
            <a:r>
              <a:rPr lang="en-US" b="0" dirty="0">
                <a:ea typeface="Times New Roman" panose="02020603050405020304" pitchFamily="18" charset="0"/>
                <a:cs typeface="Times New Roman" panose="02020603050405020304" pitchFamily="18" charset="0"/>
              </a:rPr>
              <a:t>: P</a:t>
            </a:r>
            <a:r>
              <a:rPr lang="en-US" b="0" dirty="0">
                <a:solidFill>
                  <a:schemeClr val="tx1"/>
                </a:solidFill>
                <a:ea typeface="Times New Roman" panose="02020603050405020304" pitchFamily="18" charset="0"/>
                <a:cs typeface="Times New Roman" panose="02020603050405020304" pitchFamily="18" charset="0"/>
              </a:rPr>
              <a:t>ercentage of attributed patients for which the ACO has complete R, E, L, and/or D data</a:t>
            </a:r>
          </a:p>
          <a:p>
            <a:pPr lvl="1">
              <a:spcAft>
                <a:spcPts val="600"/>
              </a:spcAft>
            </a:pPr>
            <a:endParaRPr lang="en-US" sz="1200" b="0" dirty="0">
              <a:solidFill>
                <a:schemeClr val="tx1"/>
              </a:solidFill>
              <a:ea typeface="Times New Roman" panose="02020603050405020304" pitchFamily="18" charset="0"/>
              <a:cs typeface="Times New Roman" panose="02020603050405020304" pitchFamily="18" charset="0"/>
            </a:endParaRPr>
          </a:p>
          <a:p>
            <a:pPr lvl="1">
              <a:spcAft>
                <a:spcPts val="600"/>
              </a:spcAft>
            </a:pPr>
            <a:r>
              <a:rPr lang="en-US" b="0" u="sng" dirty="0">
                <a:ea typeface="Times New Roman" panose="02020603050405020304" pitchFamily="18" charset="0"/>
                <a:cs typeface="Times New Roman" panose="02020603050405020304" pitchFamily="18" charset="0"/>
              </a:rPr>
              <a:t>Rationale</a:t>
            </a:r>
            <a:r>
              <a:rPr lang="en-US" b="0" dirty="0">
                <a:ea typeface="Times New Roman" panose="02020603050405020304" pitchFamily="18" charset="0"/>
                <a:cs typeface="Times New Roman" panose="02020603050405020304" pitchFamily="18" charset="0"/>
              </a:rPr>
              <a:t>: Provider organizations need to gather complete and standardized RELD data in order to measure health equity and reduce disparities in their patient population</a:t>
            </a:r>
          </a:p>
          <a:p>
            <a:pPr lvl="1">
              <a:spcAft>
                <a:spcPts val="600"/>
              </a:spcAft>
            </a:pPr>
            <a:endParaRPr lang="en-US" sz="1200" b="0" dirty="0">
              <a:solidFill>
                <a:schemeClr val="tx1"/>
              </a:solidFill>
              <a:ea typeface="Times New Roman" panose="02020603050405020304" pitchFamily="18" charset="0"/>
              <a:cs typeface="Times New Roman" panose="02020603050405020304" pitchFamily="18" charset="0"/>
            </a:endParaRPr>
          </a:p>
          <a:p>
            <a:pPr lvl="1">
              <a:spcAft>
                <a:spcPts val="600"/>
              </a:spcAft>
            </a:pPr>
            <a:r>
              <a:rPr lang="en-US" b="0" u="sng" dirty="0">
                <a:ea typeface="Times New Roman" panose="02020603050405020304" pitchFamily="18" charset="0"/>
                <a:cs typeface="Times New Roman" panose="02020603050405020304" pitchFamily="18" charset="0"/>
              </a:rPr>
              <a:t>Special considerations</a:t>
            </a:r>
            <a:r>
              <a:rPr lang="en-US" b="0" dirty="0">
                <a:ea typeface="Times New Roman" panose="02020603050405020304" pitchFamily="18" charset="0"/>
                <a:cs typeface="Times New Roman" panose="02020603050405020304" pitchFamily="18" charset="0"/>
              </a:rPr>
              <a:t>:</a:t>
            </a:r>
          </a:p>
          <a:p>
            <a:pPr lvl="3">
              <a:spcAft>
                <a:spcPts val="6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EHRs typically capture REL status, but not in the same fashion, although use of OMB categories is common</a:t>
            </a:r>
          </a:p>
          <a:p>
            <a:pPr lvl="3">
              <a:spcAft>
                <a:spcPts val="6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EHRs do not capture disability status, nor is there a standard method for doing so</a:t>
            </a:r>
          </a:p>
          <a:p>
            <a:pPr lvl="3">
              <a:spcAft>
                <a:spcPts val="6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Small providers may be less likely to capture REL data, but we don’t know this for certain</a:t>
            </a:r>
          </a:p>
          <a:p>
            <a:pPr lvl="3">
              <a:spcAft>
                <a:spcPts val="600"/>
              </a:spcAft>
              <a:buFont typeface="Arial" panose="020B0604020202020204" pitchFamily="34" charset="0"/>
              <a:buChar char="•"/>
            </a:pPr>
            <a:endParaRPr lang="en-US" sz="12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endParaRPr>
          </a:p>
          <a:p>
            <a:pPr lvl="1">
              <a:spcAft>
                <a:spcPts val="600"/>
              </a:spcAft>
            </a:pPr>
            <a:r>
              <a:rPr lang="en-US" b="0" dirty="0">
                <a:ea typeface="Times New Roman" panose="02020603050405020304" pitchFamily="18" charset="0"/>
                <a:cs typeface="Times New Roman" panose="02020603050405020304" pitchFamily="18" charset="0"/>
              </a:rPr>
              <a:t>RELD completeness measures are not currently used in contracts.</a:t>
            </a:r>
          </a:p>
          <a:p>
            <a:endParaRPr lang="en-US" dirty="0"/>
          </a:p>
        </p:txBody>
      </p:sp>
    </p:spTree>
    <p:extLst>
      <p:ext uri="{BB962C8B-B14F-4D97-AF65-F5344CB8AC3E}">
        <p14:creationId xmlns:p14="http://schemas.microsoft.com/office/powerpoint/2010/main" val="135521052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tatus updates</a:t>
            </a:r>
          </a:p>
          <a:p>
            <a:pPr marL="644525" lvl="1" indent="-457200">
              <a:buFont typeface="+mj-lt"/>
              <a:buAutoNum type="alphaLcPeriod"/>
            </a:pPr>
            <a:r>
              <a:rPr lang="en-US" sz="2200" b="0" dirty="0">
                <a:cs typeface="Times New Roman" panose="02020603050405020304" pitchFamily="18" charset="0"/>
              </a:rPr>
              <a:t>Language on maximum number of measures per contract</a:t>
            </a:r>
          </a:p>
          <a:p>
            <a:pPr marL="644525" lvl="1" indent="-457200">
              <a:buFont typeface="+mj-lt"/>
              <a:buAutoNum type="alphaLcPeriod"/>
            </a:pPr>
            <a:r>
              <a:rPr lang="en-US" sz="2200" b="0" dirty="0"/>
              <a:t>Consider possible new measures</a:t>
            </a:r>
          </a:p>
          <a:p>
            <a:pPr marL="644525" lvl="1" indent="-457200">
              <a:buFont typeface="+mj-lt"/>
              <a:buAutoNum type="alphaLcPeriod"/>
            </a:pPr>
            <a:r>
              <a:rPr lang="en-US" sz="2200" b="0" dirty="0">
                <a:cs typeface="Times New Roman" panose="02020603050405020304" pitchFamily="18" charset="0"/>
              </a:rPr>
              <a:t>Consider proposed HEDIS changes</a:t>
            </a:r>
            <a:endParaRPr lang="en-US" sz="2200" dirty="0">
              <a:cs typeface="Times New Roman" panose="02020603050405020304" pitchFamily="18" charset="0"/>
            </a:endParaRP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230410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5566009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4211F-0C01-4EC1-964E-9966E2523F23}"/>
              </a:ext>
            </a:extLst>
          </p:cNvPr>
          <p:cNvSpPr>
            <a:spLocks noGrp="1"/>
          </p:cNvSpPr>
          <p:nvPr>
            <p:ph type="title"/>
          </p:nvPr>
        </p:nvSpPr>
        <p:spPr>
          <a:xfrm>
            <a:off x="736599" y="109538"/>
            <a:ext cx="6522329" cy="762000"/>
          </a:xfrm>
        </p:spPr>
        <p:txBody>
          <a:bodyPr/>
          <a:lstStyle/>
          <a:p>
            <a:r>
              <a:rPr lang="en-US" dirty="0"/>
              <a:t>Health Equity: Measure Option #2</a:t>
            </a:r>
            <a:br>
              <a:rPr lang="en-US" dirty="0"/>
            </a:br>
            <a:r>
              <a:rPr lang="en-US" dirty="0"/>
              <a:t>RELD Disparity Measurement</a:t>
            </a:r>
          </a:p>
        </p:txBody>
      </p:sp>
      <p:sp>
        <p:nvSpPr>
          <p:cNvPr id="3" name="Content Placeholder 2">
            <a:extLst>
              <a:ext uri="{FF2B5EF4-FFF2-40B4-BE49-F238E27FC236}">
                <a16:creationId xmlns:a16="http://schemas.microsoft.com/office/drawing/2014/main" id="{1C31389C-7B7F-4C4D-AA2F-63843E0A80FF}"/>
              </a:ext>
            </a:extLst>
          </p:cNvPr>
          <p:cNvSpPr>
            <a:spLocks noGrp="1"/>
          </p:cNvSpPr>
          <p:nvPr>
            <p:ph sz="half" idx="1"/>
          </p:nvPr>
        </p:nvSpPr>
        <p:spPr>
          <a:xfrm>
            <a:off x="295421" y="1150883"/>
            <a:ext cx="8314007" cy="5404662"/>
          </a:xfrm>
        </p:spPr>
        <p:txBody>
          <a:bodyPr/>
          <a:lstStyle/>
          <a:p>
            <a:pPr lvl="1">
              <a:spcAft>
                <a:spcPts val="600"/>
              </a:spcAft>
            </a:pPr>
            <a:r>
              <a:rPr lang="en-US" b="0" u="sng" dirty="0">
                <a:ea typeface="Times New Roman" panose="02020603050405020304" pitchFamily="18" charset="0"/>
                <a:cs typeface="Times New Roman" panose="02020603050405020304" pitchFamily="18" charset="0"/>
              </a:rPr>
              <a:t>Measure concept</a:t>
            </a:r>
            <a:r>
              <a:rPr lang="en-US" b="0" dirty="0">
                <a:ea typeface="Times New Roman" panose="02020603050405020304" pitchFamily="18" charset="0"/>
                <a:cs typeface="Times New Roman" panose="02020603050405020304" pitchFamily="18" charset="0"/>
              </a:rPr>
              <a:t>: Performance on Aligned Measure Set Measures stratified by R, E, L and or D, moving over time to reduction in disparities for selected measures, starting with three core set measures: A1c Poor Control, Controlling High Blood Pressure, Screening for Clinical Depression and Follow-up Plan</a:t>
            </a:r>
            <a:endParaRPr lang="en-US" b="0" dirty="0">
              <a:solidFill>
                <a:schemeClr val="tx1"/>
              </a:solidFill>
              <a:ea typeface="Times New Roman" panose="02020603050405020304" pitchFamily="18" charset="0"/>
              <a:cs typeface="Times New Roman" panose="02020603050405020304" pitchFamily="18" charset="0"/>
            </a:endParaRPr>
          </a:p>
          <a:p>
            <a:pPr lvl="1">
              <a:spcAft>
                <a:spcPts val="600"/>
              </a:spcAft>
            </a:pPr>
            <a:endParaRPr lang="en-US" sz="300" b="0" dirty="0">
              <a:solidFill>
                <a:schemeClr val="tx1"/>
              </a:solidFill>
              <a:ea typeface="Times New Roman" panose="02020603050405020304" pitchFamily="18" charset="0"/>
              <a:cs typeface="Times New Roman" panose="02020603050405020304" pitchFamily="18" charset="0"/>
            </a:endParaRPr>
          </a:p>
          <a:p>
            <a:pPr lvl="1">
              <a:spcAft>
                <a:spcPts val="600"/>
              </a:spcAft>
            </a:pPr>
            <a:r>
              <a:rPr lang="en-US" b="0" u="sng" dirty="0">
                <a:ea typeface="Times New Roman" panose="02020603050405020304" pitchFamily="18" charset="0"/>
                <a:cs typeface="Times New Roman" panose="02020603050405020304" pitchFamily="18" charset="0"/>
              </a:rPr>
              <a:t>Rationale</a:t>
            </a:r>
            <a:r>
              <a:rPr lang="en-US" b="0" dirty="0">
                <a:ea typeface="Times New Roman" panose="02020603050405020304" pitchFamily="18" charset="0"/>
                <a:cs typeface="Times New Roman" panose="02020603050405020304" pitchFamily="18" charset="0"/>
              </a:rPr>
              <a:t>: Stratification of quality measures is a necessary precursor to disparity identification and then reduction</a:t>
            </a:r>
          </a:p>
          <a:p>
            <a:pPr lvl="1">
              <a:spcAft>
                <a:spcPts val="600"/>
              </a:spcAft>
            </a:pPr>
            <a:endParaRPr lang="en-US" sz="300" b="0" dirty="0">
              <a:ea typeface="Times New Roman" panose="02020603050405020304" pitchFamily="18" charset="0"/>
              <a:cs typeface="Times New Roman" panose="02020603050405020304" pitchFamily="18" charset="0"/>
            </a:endParaRPr>
          </a:p>
          <a:p>
            <a:pPr lvl="1">
              <a:spcAft>
                <a:spcPts val="600"/>
              </a:spcAft>
            </a:pPr>
            <a:r>
              <a:rPr lang="en-US" b="0" u="sng" dirty="0">
                <a:ea typeface="Times New Roman" panose="02020603050405020304" pitchFamily="18" charset="0"/>
                <a:cs typeface="Times New Roman" panose="02020603050405020304" pitchFamily="18" charset="0"/>
              </a:rPr>
              <a:t>Special considerations</a:t>
            </a:r>
            <a:r>
              <a:rPr lang="en-US" dirty="0">
                <a:ea typeface="Times New Roman" panose="02020603050405020304" pitchFamily="18" charset="0"/>
                <a:cs typeface="Times New Roman" panose="02020603050405020304" pitchFamily="18" charset="0"/>
              </a:rPr>
              <a:t>:</a:t>
            </a:r>
          </a:p>
          <a:p>
            <a:pPr marL="857250" lvl="3" indent="-285750">
              <a:spcAft>
                <a:spcPts val="6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As we have seen, at least some large MA health systems are measuring REL health disparities today using quality measures, as are FQHCs.</a:t>
            </a:r>
          </a:p>
          <a:p>
            <a:pPr marL="857250" lvl="3" indent="-285750">
              <a:spcAft>
                <a:spcPts val="6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The measures may relate to those in the Aligned Measure Set but are probably not identical if generated using EHR data alone.</a:t>
            </a:r>
          </a:p>
          <a:p>
            <a:pPr marL="857250" lvl="3" indent="-285750">
              <a:spcAft>
                <a:spcPts val="600"/>
              </a:spcAft>
              <a:buFont typeface="Arial" panose="020B0604020202020204" pitchFamily="34" charset="0"/>
              <a:buChar char="•"/>
            </a:pPr>
            <a:r>
              <a:rPr lang="en-US" sz="20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rPr>
              <a:t>They are not using the same measures.</a:t>
            </a:r>
            <a:endParaRPr lang="en-US" sz="2000" b="0" dirty="0">
              <a:latin typeface="Book Antiqua" panose="02040602050305030304" pitchFamily="18" charset="0"/>
              <a:ea typeface="Times New Roman" panose="02020603050405020304" pitchFamily="18" charset="0"/>
              <a:cs typeface="Times New Roman" panose="02020603050405020304" pitchFamily="18" charset="0"/>
            </a:endParaRPr>
          </a:p>
          <a:p>
            <a:pPr lvl="3">
              <a:spcAft>
                <a:spcPts val="600"/>
              </a:spcAft>
              <a:buFont typeface="Arial" panose="020B0604020202020204" pitchFamily="34" charset="0"/>
              <a:buChar char="•"/>
            </a:pPr>
            <a:endParaRPr lang="en-US" sz="300" b="0" dirty="0">
              <a:solidFill>
                <a:schemeClr val="tx1"/>
              </a:solidFill>
              <a:latin typeface="Book Antiqua" panose="02040602050305030304" pitchFamily="18" charset="0"/>
              <a:ea typeface="Times New Roman" panose="02020603050405020304" pitchFamily="18" charset="0"/>
              <a:cs typeface="Times New Roman" panose="02020603050405020304" pitchFamily="18" charset="0"/>
            </a:endParaRPr>
          </a:p>
          <a:p>
            <a:pPr lvl="1">
              <a:spcAft>
                <a:spcPts val="600"/>
              </a:spcAft>
            </a:pPr>
            <a:r>
              <a:rPr lang="en-US" b="0" dirty="0">
                <a:ea typeface="Times New Roman" panose="02020603050405020304" pitchFamily="18" charset="0"/>
                <a:cs typeface="Times New Roman" panose="02020603050405020304" pitchFamily="18" charset="0"/>
              </a:rPr>
              <a:t>RELD disparity measures are not currently used in contracts.</a:t>
            </a:r>
          </a:p>
          <a:p>
            <a:endParaRPr lang="en-US" dirty="0"/>
          </a:p>
        </p:txBody>
      </p:sp>
    </p:spTree>
    <p:extLst>
      <p:ext uri="{BB962C8B-B14F-4D97-AF65-F5344CB8AC3E}">
        <p14:creationId xmlns:p14="http://schemas.microsoft.com/office/powerpoint/2010/main" val="111254042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6BE21-0062-4893-834E-4364FA21EDBA}"/>
              </a:ext>
            </a:extLst>
          </p:cNvPr>
          <p:cNvSpPr>
            <a:spLocks noGrp="1"/>
          </p:cNvSpPr>
          <p:nvPr>
            <p:ph type="title"/>
          </p:nvPr>
        </p:nvSpPr>
        <p:spPr>
          <a:xfrm>
            <a:off x="736600" y="109538"/>
            <a:ext cx="6466058" cy="762000"/>
          </a:xfrm>
        </p:spPr>
        <p:txBody>
          <a:bodyPr/>
          <a:lstStyle/>
          <a:p>
            <a:r>
              <a:rPr lang="en-US" dirty="0"/>
              <a:t>HEDIS 2019/2020 Measures of Interest to the Taskforce </a:t>
            </a:r>
          </a:p>
        </p:txBody>
      </p:sp>
      <p:graphicFrame>
        <p:nvGraphicFramePr>
          <p:cNvPr id="4" name="Table 3">
            <a:extLst>
              <a:ext uri="{FF2B5EF4-FFF2-40B4-BE49-F238E27FC236}">
                <a16:creationId xmlns:a16="http://schemas.microsoft.com/office/drawing/2014/main" id="{1EFCD6C3-F3CB-4D49-AE47-B909A7812126}"/>
              </a:ext>
            </a:extLst>
          </p:cNvPr>
          <p:cNvGraphicFramePr>
            <a:graphicFrameLocks noGrp="1"/>
          </p:cNvGraphicFramePr>
          <p:nvPr>
            <p:extLst>
              <p:ext uri="{D42A27DB-BD31-4B8C-83A1-F6EECF244321}">
                <p14:modId xmlns:p14="http://schemas.microsoft.com/office/powerpoint/2010/main" val="721536942"/>
              </p:ext>
            </p:extLst>
          </p:nvPr>
        </p:nvGraphicFramePr>
        <p:xfrm>
          <a:off x="333829" y="3375160"/>
          <a:ext cx="8650514" cy="2956560"/>
        </p:xfrm>
        <a:graphic>
          <a:graphicData uri="http://schemas.openxmlformats.org/drawingml/2006/table">
            <a:tbl>
              <a:tblPr firstRow="1" bandRow="1">
                <a:tableStyleId>{5C22544A-7EE6-4342-B048-85BDC9FD1C3A}</a:tableStyleId>
              </a:tblPr>
              <a:tblGrid>
                <a:gridCol w="1793909">
                  <a:extLst>
                    <a:ext uri="{9D8B030D-6E8A-4147-A177-3AD203B41FA5}">
                      <a16:colId xmlns:a16="http://schemas.microsoft.com/office/drawing/2014/main" val="3359538932"/>
                    </a:ext>
                  </a:extLst>
                </a:gridCol>
                <a:gridCol w="1370205">
                  <a:extLst>
                    <a:ext uri="{9D8B030D-6E8A-4147-A177-3AD203B41FA5}">
                      <a16:colId xmlns:a16="http://schemas.microsoft.com/office/drawing/2014/main" val="759092892"/>
                    </a:ext>
                  </a:extLst>
                </a:gridCol>
                <a:gridCol w="1103086">
                  <a:extLst>
                    <a:ext uri="{9D8B030D-6E8A-4147-A177-3AD203B41FA5}">
                      <a16:colId xmlns:a16="http://schemas.microsoft.com/office/drawing/2014/main" val="998352082"/>
                    </a:ext>
                  </a:extLst>
                </a:gridCol>
                <a:gridCol w="4383314">
                  <a:extLst>
                    <a:ext uri="{9D8B030D-6E8A-4147-A177-3AD203B41FA5}">
                      <a16:colId xmlns:a16="http://schemas.microsoft.com/office/drawing/2014/main" val="947486504"/>
                    </a:ext>
                  </a:extLst>
                </a:gridCol>
              </a:tblGrid>
              <a:tr h="0">
                <a:tc>
                  <a:txBody>
                    <a:bodyPr/>
                    <a:lstStyle/>
                    <a:p>
                      <a:r>
                        <a:rPr lang="en-US" sz="1600">
                          <a:latin typeface="Book Antiqua" panose="02040602050305030304" pitchFamily="18" charset="0"/>
                        </a:rPr>
                        <a:t>Measure</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a:latin typeface="Book Antiqua" panose="02040602050305030304" pitchFamily="18" charset="0"/>
                        </a:rPr>
                        <a:t>LOB</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a:latin typeface="Book Antiqua" panose="02040602050305030304" pitchFamily="18" charset="0"/>
                        </a:rPr>
                        <a:t>Data Source</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600">
                          <a:latin typeface="Book Antiqua" panose="02040602050305030304" pitchFamily="18" charset="0"/>
                        </a:rPr>
                        <a:t>Description</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extLst>
                  <a:ext uri="{0D108BD9-81ED-4DB2-BD59-A6C34878D82A}">
                    <a16:rowId xmlns:a16="http://schemas.microsoft.com/office/drawing/2014/main" val="3285296151"/>
                  </a:ext>
                </a:extLst>
              </a:tr>
              <a:tr h="370840">
                <a:tc>
                  <a:txBody>
                    <a:bodyPr/>
                    <a:lstStyle/>
                    <a:p>
                      <a:r>
                        <a:rPr lang="en-US" sz="1600">
                          <a:latin typeface="Book Antiqua" panose="02040602050305030304" pitchFamily="18" charset="0"/>
                        </a:rPr>
                        <a:t>Adult Immunization Status</a:t>
                      </a:r>
                      <a:endParaRPr lang="en-US" sz="1600" i="1"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Book Antiqua" panose="02040602050305030304" pitchFamily="18" charset="0"/>
                        </a:rPr>
                        <a:t>Comm., Medicaid, Medicare</a:t>
                      </a:r>
                    </a:p>
                    <a:p>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latin typeface="Book Antiqua" panose="02040602050305030304" pitchFamily="18" charset="0"/>
                        </a:rPr>
                        <a:t>ECDS</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i="0" kern="1200">
                          <a:solidFill>
                            <a:schemeClr val="dk1"/>
                          </a:solidFill>
                          <a:effectLst/>
                          <a:latin typeface="Book Antiqua" panose="02040602050305030304" pitchFamily="18" charset="0"/>
                          <a:ea typeface="+mn-ea"/>
                          <a:cs typeface="+mn-cs"/>
                        </a:rPr>
                        <a:t>The percentage of adults 19 years and older who are up to date on recommended routine vaccines for influenza, tetanus and diphtheria (Td) or tetanus, Tdap, herpes zoster and pneumococcal.</a:t>
                      </a:r>
                      <a:endParaRPr lang="en-US" sz="1600" b="0" i="0" kern="1200" dirty="0">
                        <a:solidFill>
                          <a:schemeClr val="dk1"/>
                        </a:solidFill>
                        <a:effectLst/>
                        <a:latin typeface="Book Antiqua" panose="02040602050305030304" pitchFamily="18"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0564828"/>
                  </a:ext>
                </a:extLst>
              </a:tr>
              <a:tr h="370840">
                <a:tc>
                  <a:txBody>
                    <a:bodyPr/>
                    <a:lstStyle/>
                    <a:p>
                      <a:r>
                        <a:rPr lang="en-US" sz="1600">
                          <a:latin typeface="Book Antiqua" panose="02040602050305030304" pitchFamily="18" charset="0"/>
                        </a:rPr>
                        <a:t>Post-partum Depression Screening and Follow-up</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Book Antiqua" panose="02040602050305030304" pitchFamily="18" charset="0"/>
                        </a:rPr>
                        <a:t>Comm., Medicaid</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a:latin typeface="Book Antiqua" panose="02040602050305030304" pitchFamily="18" charset="0"/>
                        </a:rPr>
                        <a:t>ECDS</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a:latin typeface="Book Antiqua" panose="02040602050305030304" pitchFamily="18" charset="0"/>
                        </a:rPr>
                        <a:t>The percentage of deliveries in which members were screened for clinical depression during the postpartum period, and if screened positive, received follow-up care. </a:t>
                      </a:r>
                      <a:endParaRPr lang="en-US" sz="1600"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80845031"/>
                  </a:ext>
                </a:extLst>
              </a:tr>
            </a:tbl>
          </a:graphicData>
        </a:graphic>
      </p:graphicFrame>
      <p:sp>
        <p:nvSpPr>
          <p:cNvPr id="3" name="TextBox 2">
            <a:extLst>
              <a:ext uri="{FF2B5EF4-FFF2-40B4-BE49-F238E27FC236}">
                <a16:creationId xmlns:a16="http://schemas.microsoft.com/office/drawing/2014/main" id="{13958191-8EAF-4015-BB89-36C2A72A048F}"/>
              </a:ext>
            </a:extLst>
          </p:cNvPr>
          <p:cNvSpPr txBox="1"/>
          <p:nvPr/>
        </p:nvSpPr>
        <p:spPr>
          <a:xfrm>
            <a:off x="159657" y="953633"/>
            <a:ext cx="8824686" cy="2385268"/>
          </a:xfrm>
          <a:prstGeom prst="rect">
            <a:avLst/>
          </a:prstGeom>
          <a:noFill/>
        </p:spPr>
        <p:txBody>
          <a:bodyPr wrap="square" rtlCol="0">
            <a:spAutoFit/>
          </a:bodyPr>
          <a:lstStyle/>
          <a:p>
            <a:pPr marL="285750" indent="-285750">
              <a:buFont typeface="Arial" panose="020B0604020202020204" pitchFamily="34" charset="0"/>
              <a:buChar char="•"/>
            </a:pPr>
            <a:r>
              <a:rPr lang="en-US" b="1" dirty="0">
                <a:latin typeface="Book Antiqua" panose="02040602050305030304" pitchFamily="18" charset="0"/>
              </a:rPr>
              <a:t>During the December 9, 2019 Taskforce meeting, </a:t>
            </a:r>
            <a:r>
              <a:rPr lang="en-US" dirty="0">
                <a:latin typeface="Book Antiqua" panose="02040602050305030304" pitchFamily="18" charset="0"/>
              </a:rPr>
              <a:t>Taskforce members expressed interest in the following new 2019 and 2020 HEDIS measures once benchmark data became available.</a:t>
            </a:r>
          </a:p>
          <a:p>
            <a:pPr marL="742950" lvl="1" indent="-285750">
              <a:spcAft>
                <a:spcPts val="600"/>
              </a:spcAft>
              <a:buFont typeface="Arial" panose="020B0604020202020204" pitchFamily="34" charset="0"/>
              <a:buChar char="•"/>
            </a:pPr>
            <a:r>
              <a:rPr lang="en-US" dirty="0">
                <a:latin typeface="Book Antiqua" panose="02040602050305030304" pitchFamily="18" charset="0"/>
              </a:rPr>
              <a:t>As of March 2021, benchmark data are still not available for these measures, some data may become available as updated Quality Compass data are released over the summer and fall. </a:t>
            </a:r>
          </a:p>
          <a:p>
            <a:pPr marL="285750" indent="-285750">
              <a:buFont typeface="Arial" panose="020B0604020202020204" pitchFamily="34" charset="0"/>
              <a:buChar char="•"/>
            </a:pPr>
            <a:r>
              <a:rPr lang="en-US" b="1" dirty="0">
                <a:latin typeface="Book Antiqua" panose="02040602050305030304" pitchFamily="18" charset="0"/>
              </a:rPr>
              <a:t>Does the Taskforce recommend revisiting these measures for inclusion during the next Annual Review process?</a:t>
            </a:r>
          </a:p>
        </p:txBody>
      </p:sp>
    </p:spTree>
    <p:extLst>
      <p:ext uri="{BB962C8B-B14F-4D97-AF65-F5344CB8AC3E}">
        <p14:creationId xmlns:p14="http://schemas.microsoft.com/office/powerpoint/2010/main" val="382819056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FB505-2CAF-4C62-895E-41DEC53C2E60}"/>
              </a:ext>
            </a:extLst>
          </p:cNvPr>
          <p:cNvSpPr>
            <a:spLocks noGrp="1"/>
          </p:cNvSpPr>
          <p:nvPr>
            <p:ph type="title"/>
          </p:nvPr>
        </p:nvSpPr>
        <p:spPr/>
        <p:txBody>
          <a:bodyPr/>
          <a:lstStyle/>
          <a:p>
            <a:r>
              <a:rPr lang="en-US" dirty="0"/>
              <a:t>Proposed HEDIS 2022 New Measures</a:t>
            </a:r>
          </a:p>
        </p:txBody>
      </p:sp>
      <p:sp>
        <p:nvSpPr>
          <p:cNvPr id="3" name="Content Placeholder 2">
            <a:extLst>
              <a:ext uri="{FF2B5EF4-FFF2-40B4-BE49-F238E27FC236}">
                <a16:creationId xmlns:a16="http://schemas.microsoft.com/office/drawing/2014/main" id="{1B7CAB5F-A75D-4B50-9880-73D9AB580C06}"/>
              </a:ext>
            </a:extLst>
          </p:cNvPr>
          <p:cNvSpPr>
            <a:spLocks noGrp="1"/>
          </p:cNvSpPr>
          <p:nvPr>
            <p:ph sz="half" idx="1"/>
          </p:nvPr>
        </p:nvSpPr>
        <p:spPr>
          <a:xfrm>
            <a:off x="294248" y="1062110"/>
            <a:ext cx="8849751" cy="5686352"/>
          </a:xfrm>
        </p:spPr>
        <p:txBody>
          <a:bodyPr/>
          <a:lstStyle/>
          <a:p>
            <a:pPr>
              <a:lnSpc>
                <a:spcPct val="107000"/>
              </a:lnSpc>
              <a:spcBef>
                <a:spcPts val="0"/>
              </a:spcBef>
              <a:spcAft>
                <a:spcPts val="0"/>
              </a:spcAft>
            </a:pPr>
            <a:r>
              <a:rPr lang="en-US" dirty="0">
                <a:effectLst/>
                <a:cs typeface="Times New Roman" panose="02020603050405020304" pitchFamily="18" charset="0"/>
              </a:rPr>
              <a:t>In its public comment request, NCQA shared proposed new measures for HEDIS 2022.</a:t>
            </a:r>
          </a:p>
          <a:p>
            <a:pPr lvl="1">
              <a:lnSpc>
                <a:spcPct val="107000"/>
              </a:lnSpc>
              <a:spcBef>
                <a:spcPts val="0"/>
              </a:spcBef>
            </a:pPr>
            <a:r>
              <a:rPr lang="en-US" b="0" dirty="0">
                <a:effectLst/>
                <a:cs typeface="Times New Roman" panose="02020603050405020304" pitchFamily="18" charset="0"/>
              </a:rPr>
              <a:t>We excluded Advance Care Planning and</a:t>
            </a:r>
            <a:r>
              <a:rPr lang="en-US" b="0" dirty="0">
                <a:cs typeface="Times New Roman" panose="02020603050405020304" pitchFamily="18" charset="0"/>
              </a:rPr>
              <a:t> Prescribing of Benzodiazepines in Older Adults as they are only for the Medicare product line.</a:t>
            </a:r>
            <a:endParaRPr lang="en-US" b="0" dirty="0">
              <a:effectLst/>
              <a:cs typeface="Times New Roman" panose="02020603050405020304" pitchFamily="18" charset="0"/>
            </a:endParaRPr>
          </a:p>
          <a:p>
            <a:pPr>
              <a:lnSpc>
                <a:spcPct val="107000"/>
              </a:lnSpc>
              <a:spcBef>
                <a:spcPts val="0"/>
              </a:spcBef>
              <a:spcAft>
                <a:spcPts val="0"/>
              </a:spcAft>
            </a:pPr>
            <a:r>
              <a:rPr lang="en-US" b="1" dirty="0">
                <a:latin typeface="Book Antiqua" panose="02040602050305030304" pitchFamily="18" charset="0"/>
              </a:rPr>
              <a:t>Does the Taskforce recommend adding the measure below to the Aligned Measure Set once finalized by NCQA, or revisiting this measure once performance data are available? </a:t>
            </a:r>
          </a:p>
          <a:p>
            <a:pPr>
              <a:lnSpc>
                <a:spcPct val="107000"/>
              </a:lnSpc>
              <a:spcBef>
                <a:spcPts val="0"/>
              </a:spcBef>
              <a:spcAft>
                <a:spcPts val="0"/>
              </a:spcAft>
            </a:pPr>
            <a:endParaRPr lang="en-US" dirty="0">
              <a:effectLst/>
              <a:cs typeface="Times New Roman" panose="02020603050405020304" pitchFamily="18" charset="0"/>
            </a:endParaRPr>
          </a:p>
        </p:txBody>
      </p:sp>
      <p:graphicFrame>
        <p:nvGraphicFramePr>
          <p:cNvPr id="5" name="Table 4">
            <a:extLst>
              <a:ext uri="{FF2B5EF4-FFF2-40B4-BE49-F238E27FC236}">
                <a16:creationId xmlns:a16="http://schemas.microsoft.com/office/drawing/2014/main" id="{6B5E31FD-6D7B-42E7-B525-35BC482E2031}"/>
              </a:ext>
            </a:extLst>
          </p:cNvPr>
          <p:cNvGraphicFramePr>
            <a:graphicFrameLocks noGrp="1"/>
          </p:cNvGraphicFramePr>
          <p:nvPr>
            <p:extLst>
              <p:ext uri="{D42A27DB-BD31-4B8C-83A1-F6EECF244321}">
                <p14:modId xmlns:p14="http://schemas.microsoft.com/office/powerpoint/2010/main" val="3910295205"/>
              </p:ext>
            </p:extLst>
          </p:nvPr>
        </p:nvGraphicFramePr>
        <p:xfrm>
          <a:off x="294248" y="4020286"/>
          <a:ext cx="8650514" cy="2103120"/>
        </p:xfrm>
        <a:graphic>
          <a:graphicData uri="http://schemas.openxmlformats.org/drawingml/2006/table">
            <a:tbl>
              <a:tblPr firstRow="1" bandRow="1">
                <a:tableStyleId>{5C22544A-7EE6-4342-B048-85BDC9FD1C3A}</a:tableStyleId>
              </a:tblPr>
              <a:tblGrid>
                <a:gridCol w="2055057">
                  <a:extLst>
                    <a:ext uri="{9D8B030D-6E8A-4147-A177-3AD203B41FA5}">
                      <a16:colId xmlns:a16="http://schemas.microsoft.com/office/drawing/2014/main" val="3359538932"/>
                    </a:ext>
                  </a:extLst>
                </a:gridCol>
                <a:gridCol w="1223889">
                  <a:extLst>
                    <a:ext uri="{9D8B030D-6E8A-4147-A177-3AD203B41FA5}">
                      <a16:colId xmlns:a16="http://schemas.microsoft.com/office/drawing/2014/main" val="759092892"/>
                    </a:ext>
                  </a:extLst>
                </a:gridCol>
                <a:gridCol w="988254">
                  <a:extLst>
                    <a:ext uri="{9D8B030D-6E8A-4147-A177-3AD203B41FA5}">
                      <a16:colId xmlns:a16="http://schemas.microsoft.com/office/drawing/2014/main" val="998352082"/>
                    </a:ext>
                  </a:extLst>
                </a:gridCol>
                <a:gridCol w="4383314">
                  <a:extLst>
                    <a:ext uri="{9D8B030D-6E8A-4147-A177-3AD203B41FA5}">
                      <a16:colId xmlns:a16="http://schemas.microsoft.com/office/drawing/2014/main" val="947486504"/>
                    </a:ext>
                  </a:extLst>
                </a:gridCol>
              </a:tblGrid>
              <a:tr h="0">
                <a:tc>
                  <a:txBody>
                    <a:bodyPr/>
                    <a:lstStyle/>
                    <a:p>
                      <a:r>
                        <a:rPr lang="en-US" sz="1800"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LO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Data Sou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tc>
                  <a:txBody>
                    <a:bodyPr/>
                    <a:lstStyle/>
                    <a:p>
                      <a:r>
                        <a:rPr lang="en-US" sz="1800"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3366"/>
                    </a:solidFill>
                  </a:tcPr>
                </a:tc>
                <a:extLst>
                  <a:ext uri="{0D108BD9-81ED-4DB2-BD59-A6C34878D82A}">
                    <a16:rowId xmlns:a16="http://schemas.microsoft.com/office/drawing/2014/main" val="3285296151"/>
                  </a:ext>
                </a:extLst>
              </a:tr>
              <a:tr h="3262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Book Antiqua" panose="02040602050305030304" pitchFamily="18" charset="0"/>
                          <a:cs typeface="Times New Roman" panose="02020603050405020304" pitchFamily="18" charset="0"/>
                        </a:rPr>
                        <a:t>Antibiotic Utilization for Acute Respiratory Condi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latin typeface="Book Antiqua" panose="02040602050305030304" pitchFamily="18" charset="0"/>
                        </a:rPr>
                        <a:t>Comm, Medicare, Medica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dirty="0">
                          <a:latin typeface="Book Antiqua" panose="02040602050305030304" pitchFamily="18" charset="0"/>
                        </a:rPr>
                        <a:t>Admi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800" b="0" i="0" kern="1200" dirty="0">
                          <a:solidFill>
                            <a:schemeClr val="dk1"/>
                          </a:solidFill>
                          <a:effectLst/>
                          <a:latin typeface="Book Antiqua" panose="02040602050305030304" pitchFamily="18" charset="0"/>
                          <a:ea typeface="+mn-ea"/>
                          <a:cs typeface="+mn-cs"/>
                        </a:rPr>
                        <a:t>The percentage of episodes for members 3 months of age and older with a diagnosis of an acute respiratory condition that resulted in an antibiotic dispensing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2863030"/>
                  </a:ext>
                </a:extLst>
              </a:tr>
            </a:tbl>
          </a:graphicData>
        </a:graphic>
      </p:graphicFrame>
    </p:spTree>
    <p:extLst>
      <p:ext uri="{BB962C8B-B14F-4D97-AF65-F5344CB8AC3E}">
        <p14:creationId xmlns:p14="http://schemas.microsoft.com/office/powerpoint/2010/main" val="2390967901"/>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E9799-74B3-46B4-A117-6B29C5CE37FD}"/>
              </a:ext>
            </a:extLst>
          </p:cNvPr>
          <p:cNvSpPr>
            <a:spLocks noGrp="1"/>
          </p:cNvSpPr>
          <p:nvPr>
            <p:ph type="title"/>
          </p:nvPr>
        </p:nvSpPr>
        <p:spPr/>
        <p:txBody>
          <a:bodyPr/>
          <a:lstStyle/>
          <a:p>
            <a:r>
              <a:rPr lang="en-US" dirty="0"/>
              <a:t>New 2021 CMS Core Set Measures</a:t>
            </a:r>
          </a:p>
        </p:txBody>
      </p:sp>
      <p:sp>
        <p:nvSpPr>
          <p:cNvPr id="3" name="Content Placeholder 2">
            <a:extLst>
              <a:ext uri="{FF2B5EF4-FFF2-40B4-BE49-F238E27FC236}">
                <a16:creationId xmlns:a16="http://schemas.microsoft.com/office/drawing/2014/main" id="{0DA78782-B9BC-47ED-86E9-0393125BC5EE}"/>
              </a:ext>
            </a:extLst>
          </p:cNvPr>
          <p:cNvSpPr>
            <a:spLocks noGrp="1"/>
          </p:cNvSpPr>
          <p:nvPr>
            <p:ph sz="half" idx="1"/>
          </p:nvPr>
        </p:nvSpPr>
        <p:spPr>
          <a:xfrm>
            <a:off x="344071" y="1150883"/>
            <a:ext cx="8701455" cy="4556234"/>
          </a:xfrm>
        </p:spPr>
        <p:txBody>
          <a:bodyPr/>
          <a:lstStyle/>
          <a:p>
            <a:pPr>
              <a:spcAft>
                <a:spcPts val="600"/>
              </a:spcAft>
            </a:pPr>
            <a:r>
              <a:rPr lang="en-US" b="0" dirty="0"/>
              <a:t>The following measure was added to the 2021 Medicaid Child Core Set.</a:t>
            </a:r>
          </a:p>
          <a:p>
            <a:pPr lvl="1"/>
            <a:r>
              <a:rPr lang="en-US" b="0" dirty="0"/>
              <a:t>We excluded Low-Risk Cesarean Delivery as it is a hospital measure.</a:t>
            </a:r>
          </a:p>
          <a:p>
            <a:r>
              <a:rPr lang="en-US" dirty="0"/>
              <a:t>Does the Taskforce recommend adding either of the measure below to the Aligned Measure Set?</a:t>
            </a:r>
          </a:p>
          <a:p>
            <a:endParaRPr lang="en-US" dirty="0"/>
          </a:p>
        </p:txBody>
      </p:sp>
      <p:graphicFrame>
        <p:nvGraphicFramePr>
          <p:cNvPr id="4" name="Table 4">
            <a:extLst>
              <a:ext uri="{FF2B5EF4-FFF2-40B4-BE49-F238E27FC236}">
                <a16:creationId xmlns:a16="http://schemas.microsoft.com/office/drawing/2014/main" id="{C0FF9058-F080-4048-BC3C-7471FCA612D2}"/>
              </a:ext>
            </a:extLst>
          </p:cNvPr>
          <p:cNvGraphicFramePr>
            <a:graphicFrameLocks noGrp="1"/>
          </p:cNvGraphicFramePr>
          <p:nvPr>
            <p:extLst>
              <p:ext uri="{D42A27DB-BD31-4B8C-83A1-F6EECF244321}">
                <p14:modId xmlns:p14="http://schemas.microsoft.com/office/powerpoint/2010/main" val="3273215730"/>
              </p:ext>
            </p:extLst>
          </p:nvPr>
        </p:nvGraphicFramePr>
        <p:xfrm>
          <a:off x="315935" y="3391637"/>
          <a:ext cx="8701455" cy="2125071"/>
        </p:xfrm>
        <a:graphic>
          <a:graphicData uri="http://schemas.openxmlformats.org/drawingml/2006/table">
            <a:tbl>
              <a:tblPr firstRow="1" bandRow="1">
                <a:tableStyleId>{5C22544A-7EE6-4342-B048-85BDC9FD1C3A}</a:tableStyleId>
              </a:tblPr>
              <a:tblGrid>
                <a:gridCol w="1344052">
                  <a:extLst>
                    <a:ext uri="{9D8B030D-6E8A-4147-A177-3AD203B41FA5}">
                      <a16:colId xmlns:a16="http://schemas.microsoft.com/office/drawing/2014/main" val="2173425920"/>
                    </a:ext>
                  </a:extLst>
                </a:gridCol>
                <a:gridCol w="1547446">
                  <a:extLst>
                    <a:ext uri="{9D8B030D-6E8A-4147-A177-3AD203B41FA5}">
                      <a16:colId xmlns:a16="http://schemas.microsoft.com/office/drawing/2014/main" val="1495553105"/>
                    </a:ext>
                  </a:extLst>
                </a:gridCol>
                <a:gridCol w="5809957">
                  <a:extLst>
                    <a:ext uri="{9D8B030D-6E8A-4147-A177-3AD203B41FA5}">
                      <a16:colId xmlns:a16="http://schemas.microsoft.com/office/drawing/2014/main" val="2701038529"/>
                    </a:ext>
                  </a:extLst>
                </a:gridCol>
              </a:tblGrid>
              <a:tr h="387711">
                <a:tc>
                  <a:txBody>
                    <a:bodyPr/>
                    <a:lstStyle/>
                    <a:p>
                      <a:r>
                        <a:rPr lang="en-US"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726841708"/>
                  </a:ext>
                </a:extLst>
              </a:tr>
              <a:tr h="370840">
                <a:tc>
                  <a:txBody>
                    <a:bodyPr/>
                    <a:lstStyle/>
                    <a:p>
                      <a:r>
                        <a:rPr lang="en-US" dirty="0">
                          <a:latin typeface="Book Antiqua" panose="02040602050305030304" pitchFamily="18" charset="0"/>
                        </a:rPr>
                        <a:t>Sealant Receipt on Permanent 1st Mola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American Dental Association (ADA)/Dental Quality Alli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Percentage of children who have ever received sealants on permanent first molar teeth by their 10</a:t>
                      </a:r>
                      <a:r>
                        <a:rPr lang="en-US" baseline="30000" dirty="0">
                          <a:latin typeface="Book Antiqua" panose="02040602050305030304" pitchFamily="18" charset="0"/>
                        </a:rPr>
                        <a:t>th</a:t>
                      </a:r>
                      <a:r>
                        <a:rPr lang="en-US" dirty="0">
                          <a:latin typeface="Book Antiqua" panose="02040602050305030304" pitchFamily="18" charset="0"/>
                        </a:rPr>
                        <a:t> birthdate.</a:t>
                      </a:r>
                    </a:p>
                    <a:p>
                      <a:r>
                        <a:rPr lang="en-US" i="1" dirty="0">
                          <a:latin typeface="Book Antiqua" panose="02040602050305030304" pitchFamily="18" charset="0"/>
                        </a:rPr>
                        <a:t>Replaced Dental Sealants for 6-9-Year-Old Children at Elevated Caries Risk, which is being retired by the stewar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7062614"/>
                  </a:ext>
                </a:extLst>
              </a:tr>
            </a:tbl>
          </a:graphicData>
        </a:graphic>
      </p:graphicFrame>
    </p:spTree>
    <p:extLst>
      <p:ext uri="{BB962C8B-B14F-4D97-AF65-F5344CB8AC3E}">
        <p14:creationId xmlns:p14="http://schemas.microsoft.com/office/powerpoint/2010/main" val="2907942846"/>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A6FB-E19D-4112-8C5B-2F069C7E9193}"/>
              </a:ext>
            </a:extLst>
          </p:cNvPr>
          <p:cNvSpPr>
            <a:spLocks noGrp="1"/>
          </p:cNvSpPr>
          <p:nvPr>
            <p:ph type="title"/>
          </p:nvPr>
        </p:nvSpPr>
        <p:spPr>
          <a:xfrm>
            <a:off x="736600" y="109538"/>
            <a:ext cx="6718300" cy="762000"/>
          </a:xfrm>
        </p:spPr>
        <p:txBody>
          <a:bodyPr/>
          <a:lstStyle/>
          <a:p>
            <a:r>
              <a:rPr lang="en-US" dirty="0"/>
              <a:t>Social Risk Factor Measures</a:t>
            </a:r>
          </a:p>
        </p:txBody>
      </p:sp>
      <p:sp>
        <p:nvSpPr>
          <p:cNvPr id="3" name="Content Placeholder 2">
            <a:extLst>
              <a:ext uri="{FF2B5EF4-FFF2-40B4-BE49-F238E27FC236}">
                <a16:creationId xmlns:a16="http://schemas.microsoft.com/office/drawing/2014/main" id="{D4A8534B-B70C-4A4F-900E-3C9058F5AD18}"/>
              </a:ext>
            </a:extLst>
          </p:cNvPr>
          <p:cNvSpPr>
            <a:spLocks noGrp="1"/>
          </p:cNvSpPr>
          <p:nvPr>
            <p:ph sz="half" idx="1"/>
          </p:nvPr>
        </p:nvSpPr>
        <p:spPr>
          <a:xfrm>
            <a:off x="308316" y="1378632"/>
            <a:ext cx="8315179" cy="4804117"/>
          </a:xfrm>
        </p:spPr>
        <p:txBody>
          <a:bodyPr/>
          <a:lstStyle/>
          <a:p>
            <a:pPr marL="457200" indent="-457200"/>
            <a:r>
              <a:rPr lang="en-US" sz="2100" b="0" dirty="0">
                <a:latin typeface="Book Antiqua" panose="02040602050305030304" pitchFamily="18" charset="0"/>
                <a:cs typeface="Times New Roman" panose="02020603050405020304" pitchFamily="18" charset="0"/>
              </a:rPr>
              <a:t>During the November 2020 Taskforce meeting, Taskforce staff shared feedback from the public recommending inclusion of a social risk factor measure in the Aligned Measure Set.</a:t>
            </a:r>
          </a:p>
          <a:p>
            <a:pPr marL="644525" lvl="1" indent="-457200"/>
            <a:r>
              <a:rPr lang="en-US" sz="2100" b="0" dirty="0">
                <a:cs typeface="Times New Roman" panose="02020603050405020304" pitchFamily="18" charset="0"/>
              </a:rPr>
              <a:t>The Taskforce previously discussed this topic in 2018, but decided not to prioritize it. </a:t>
            </a:r>
          </a:p>
          <a:p>
            <a:pPr marL="457200" indent="-457200"/>
            <a:r>
              <a:rPr lang="en-US" sz="2100" b="0" dirty="0">
                <a:latin typeface="Book Antiqua" panose="02040602050305030304" pitchFamily="18" charset="0"/>
                <a:cs typeface="Times New Roman" panose="02020603050405020304" pitchFamily="18" charset="0"/>
              </a:rPr>
              <a:t>The Taskforce expressed interest in revisiting this topic and Taskforce staff committed to sharing the MassHealth, RI and NC measure specifications with the Taskforce for further consideration.</a:t>
            </a:r>
          </a:p>
          <a:p>
            <a:r>
              <a:rPr lang="en-US" sz="2100" dirty="0"/>
              <a:t>Prior to today’s meeting, Taskforce staff distributed social risk factor screening </a:t>
            </a:r>
            <a:r>
              <a:rPr lang="en-US" sz="2100" dirty="0">
                <a:solidFill>
                  <a:srgbClr val="0070C0"/>
                </a:solidFill>
                <a:hlinkClick r:id="rId2">
                  <a:extLst>
                    <a:ext uri="{A12FA001-AC4F-418D-AE19-62706E023703}">
                      <ahyp:hlinkClr xmlns:ahyp="http://schemas.microsoft.com/office/drawing/2018/hyperlinkcolor" val="tx"/>
                    </a:ext>
                  </a:extLst>
                </a:hlinkClick>
              </a:rPr>
              <a:t>measure specifications </a:t>
            </a:r>
            <a:r>
              <a:rPr lang="en-US" sz="2100" dirty="0"/>
              <a:t>for your review.</a:t>
            </a:r>
          </a:p>
        </p:txBody>
      </p:sp>
    </p:spTree>
    <p:extLst>
      <p:ext uri="{BB962C8B-B14F-4D97-AF65-F5344CB8AC3E}">
        <p14:creationId xmlns:p14="http://schemas.microsoft.com/office/powerpoint/2010/main" val="364006753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A6FB-E19D-4112-8C5B-2F069C7E9193}"/>
              </a:ext>
            </a:extLst>
          </p:cNvPr>
          <p:cNvSpPr>
            <a:spLocks noGrp="1"/>
          </p:cNvSpPr>
          <p:nvPr>
            <p:ph type="title"/>
          </p:nvPr>
        </p:nvSpPr>
        <p:spPr>
          <a:xfrm>
            <a:off x="736600" y="109538"/>
            <a:ext cx="6718300" cy="762000"/>
          </a:xfrm>
        </p:spPr>
        <p:txBody>
          <a:bodyPr/>
          <a:lstStyle/>
          <a:p>
            <a:r>
              <a:rPr lang="en-US" dirty="0"/>
              <a:t>Social Risk Factor Measures</a:t>
            </a:r>
          </a:p>
        </p:txBody>
      </p:sp>
      <p:sp>
        <p:nvSpPr>
          <p:cNvPr id="3" name="Content Placeholder 2">
            <a:extLst>
              <a:ext uri="{FF2B5EF4-FFF2-40B4-BE49-F238E27FC236}">
                <a16:creationId xmlns:a16="http://schemas.microsoft.com/office/drawing/2014/main" id="{D4A8534B-B70C-4A4F-900E-3C9058F5AD18}"/>
              </a:ext>
            </a:extLst>
          </p:cNvPr>
          <p:cNvSpPr>
            <a:spLocks noGrp="1"/>
          </p:cNvSpPr>
          <p:nvPr>
            <p:ph sz="half" idx="1"/>
          </p:nvPr>
        </p:nvSpPr>
        <p:spPr>
          <a:xfrm>
            <a:off x="308316" y="942533"/>
            <a:ext cx="8315179" cy="4804117"/>
          </a:xfrm>
        </p:spPr>
        <p:txBody>
          <a:bodyPr/>
          <a:lstStyle/>
          <a:p>
            <a:r>
              <a:rPr lang="en-US" sz="2100" dirty="0"/>
              <a:t>Does the Taskforce wish to further consider any of these measures for inclusion?</a:t>
            </a:r>
          </a:p>
        </p:txBody>
      </p:sp>
      <p:graphicFrame>
        <p:nvGraphicFramePr>
          <p:cNvPr id="5" name="Table 5">
            <a:extLst>
              <a:ext uri="{FF2B5EF4-FFF2-40B4-BE49-F238E27FC236}">
                <a16:creationId xmlns:a16="http://schemas.microsoft.com/office/drawing/2014/main" id="{67ECE0F5-0AD6-4934-83BD-2FFFA1A4584D}"/>
              </a:ext>
            </a:extLst>
          </p:cNvPr>
          <p:cNvGraphicFramePr>
            <a:graphicFrameLocks noGrp="1"/>
          </p:cNvGraphicFramePr>
          <p:nvPr/>
        </p:nvGraphicFramePr>
        <p:xfrm>
          <a:off x="308316" y="1622081"/>
          <a:ext cx="8695008" cy="5034280"/>
        </p:xfrm>
        <a:graphic>
          <a:graphicData uri="http://schemas.openxmlformats.org/drawingml/2006/table">
            <a:tbl>
              <a:tblPr firstRow="1" bandRow="1">
                <a:tableStyleId>{5C22544A-7EE6-4342-B048-85BDC9FD1C3A}</a:tableStyleId>
              </a:tblPr>
              <a:tblGrid>
                <a:gridCol w="1773703">
                  <a:extLst>
                    <a:ext uri="{9D8B030D-6E8A-4147-A177-3AD203B41FA5}">
                      <a16:colId xmlns:a16="http://schemas.microsoft.com/office/drawing/2014/main" val="1850962851"/>
                    </a:ext>
                  </a:extLst>
                </a:gridCol>
                <a:gridCol w="2616591">
                  <a:extLst>
                    <a:ext uri="{9D8B030D-6E8A-4147-A177-3AD203B41FA5}">
                      <a16:colId xmlns:a16="http://schemas.microsoft.com/office/drawing/2014/main" val="2089871830"/>
                    </a:ext>
                  </a:extLst>
                </a:gridCol>
                <a:gridCol w="4304714">
                  <a:extLst>
                    <a:ext uri="{9D8B030D-6E8A-4147-A177-3AD203B41FA5}">
                      <a16:colId xmlns:a16="http://schemas.microsoft.com/office/drawing/2014/main" val="1898846368"/>
                    </a:ext>
                  </a:extLst>
                </a:gridCol>
              </a:tblGrid>
              <a:tr h="370840">
                <a:tc>
                  <a:txBody>
                    <a:bodyPr/>
                    <a:lstStyle/>
                    <a:p>
                      <a:r>
                        <a:rPr lang="en-US" dirty="0">
                          <a:latin typeface="Book Antiqua" panose="02040602050305030304" pitchFamily="18" charset="0"/>
                        </a:rPr>
                        <a:t>M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omains Screen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dirty="0">
                          <a:latin typeface="Book Antiqua" panose="02040602050305030304" pitchFamily="18" charset="0"/>
                        </a:rPr>
                        <a:t>Descri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898786276"/>
                  </a:ext>
                </a:extLst>
              </a:tr>
              <a:tr h="370840">
                <a:tc>
                  <a:txBody>
                    <a:bodyPr/>
                    <a:lstStyle/>
                    <a:p>
                      <a:r>
                        <a:rPr lang="en-US" dirty="0">
                          <a:latin typeface="Book Antiqua" panose="02040602050305030304" pitchFamily="18" charset="0"/>
                        </a:rPr>
                        <a:t>Health-Related Social Needs Screening - M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b="1" dirty="0">
                          <a:latin typeface="Book Antiqua" panose="02040602050305030304" pitchFamily="18" charset="0"/>
                        </a:rPr>
                        <a:t>Core: </a:t>
                      </a:r>
                      <a:r>
                        <a:rPr lang="en-US" dirty="0">
                          <a:latin typeface="Book Antiqua" panose="02040602050305030304" pitchFamily="18" charset="0"/>
                        </a:rPr>
                        <a:t>Food, Housing, Transportation, Utility</a:t>
                      </a:r>
                    </a:p>
                    <a:p>
                      <a:r>
                        <a:rPr lang="en-US" b="1" dirty="0">
                          <a:latin typeface="Book Antiqua" panose="02040602050305030304" pitchFamily="18" charset="0"/>
                        </a:rPr>
                        <a:t>Supplemental:</a:t>
                      </a:r>
                      <a:r>
                        <a:rPr lang="en-US" dirty="0">
                          <a:latin typeface="Book Antiqua" panose="02040602050305030304" pitchFamily="18" charset="0"/>
                        </a:rPr>
                        <a:t> Employment, training, or education; Experience of Violence; Social Sup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CO-attributed members 0 to 64 years of age who were screened for health-related social needs in the measurement yea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3993236"/>
                  </a:ext>
                </a:extLst>
              </a:tr>
              <a:tr h="370840">
                <a:tc>
                  <a:txBody>
                    <a:bodyPr/>
                    <a:lstStyle/>
                    <a:p>
                      <a:r>
                        <a:rPr lang="en-US" dirty="0">
                          <a:latin typeface="Book Antiqua" panose="02040602050305030304" pitchFamily="18" charset="0"/>
                        </a:rPr>
                        <a:t>Screening for Social Determinants of Health - N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Food Insecurity, Housing Instability, Transportation, Interpersonal Viole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All managed care enrollees for whom the Prepaid Health Plan completed a social determinants of health screening within 90 days of enroll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2536157"/>
                  </a:ext>
                </a:extLst>
              </a:tr>
              <a:tr h="370840">
                <a:tc>
                  <a:txBody>
                    <a:bodyPr/>
                    <a:lstStyle/>
                    <a:p>
                      <a:r>
                        <a:rPr lang="en-US" dirty="0">
                          <a:latin typeface="Book Antiqua" panose="02040602050305030304" pitchFamily="18" charset="0"/>
                        </a:rPr>
                        <a:t>Social Determinants of Health Screening - R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Food insecurity, Housing insecurity, Transportation, Interpersonal violence, Utility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Individuals attributed to the primary care clinician who were screened for social determinants of health once per measurement year and for whom results are in the primary care clinician’s EH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1483646"/>
                  </a:ext>
                </a:extLst>
              </a:tr>
            </a:tbl>
          </a:graphicData>
        </a:graphic>
      </p:graphicFrame>
    </p:spTree>
    <p:extLst>
      <p:ext uri="{BB962C8B-B14F-4D97-AF65-F5344CB8AC3E}">
        <p14:creationId xmlns:p14="http://schemas.microsoft.com/office/powerpoint/2010/main" val="224148822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tatus updates</a:t>
            </a:r>
          </a:p>
          <a:p>
            <a:pPr marL="644525" lvl="1" indent="-457200">
              <a:buFont typeface="+mj-lt"/>
              <a:buAutoNum type="alphaLcPeriod"/>
            </a:pPr>
            <a:r>
              <a:rPr lang="en-US" sz="2200" b="0" dirty="0">
                <a:cs typeface="Times New Roman" panose="02020603050405020304" pitchFamily="18" charset="0"/>
              </a:rPr>
              <a:t>Language on maximum number of measures per contract</a:t>
            </a:r>
          </a:p>
          <a:p>
            <a:pPr marL="644525" lvl="1" indent="-457200">
              <a:buFont typeface="+mj-lt"/>
              <a:buAutoNum type="alphaLcPeriod"/>
            </a:pPr>
            <a:r>
              <a:rPr lang="en-US" sz="2200" b="0" dirty="0"/>
              <a:t>Consider possible new measures</a:t>
            </a:r>
          </a:p>
          <a:p>
            <a:pPr marL="644525" lvl="1" indent="-457200">
              <a:buFont typeface="+mj-lt"/>
              <a:buAutoNum type="alphaLcPeriod"/>
            </a:pPr>
            <a:r>
              <a:rPr lang="en-US" sz="2200" b="0" dirty="0">
                <a:cs typeface="Times New Roman" panose="02020603050405020304" pitchFamily="18" charset="0"/>
              </a:rPr>
              <a:t>Consider proposed HEDIS changes</a:t>
            </a:r>
            <a:endParaRPr lang="en-US" sz="2200" dirty="0">
              <a:cs typeface="Times New Roman" panose="02020603050405020304" pitchFamily="18" charset="0"/>
            </a:endParaRP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376714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60804150"/>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E605A1-BF64-4FC0-B871-8A9C64220F7D}"/>
              </a:ext>
            </a:extLst>
          </p:cNvPr>
          <p:cNvSpPr>
            <a:spLocks noGrp="1"/>
          </p:cNvSpPr>
          <p:nvPr>
            <p:ph type="title"/>
          </p:nvPr>
        </p:nvSpPr>
        <p:spPr/>
        <p:txBody>
          <a:bodyPr/>
          <a:lstStyle/>
          <a:p>
            <a:r>
              <a:rPr lang="en-US" dirty="0"/>
              <a:t>Proposed HEDIS Changes</a:t>
            </a:r>
          </a:p>
        </p:txBody>
      </p:sp>
      <p:sp>
        <p:nvSpPr>
          <p:cNvPr id="3" name="Content Placeholder 2">
            <a:extLst>
              <a:ext uri="{FF2B5EF4-FFF2-40B4-BE49-F238E27FC236}">
                <a16:creationId xmlns:a16="http://schemas.microsoft.com/office/drawing/2014/main" id="{CD926FAF-1182-4146-AA14-ACE4CC8DE26D}"/>
              </a:ext>
            </a:extLst>
          </p:cNvPr>
          <p:cNvSpPr>
            <a:spLocks noGrp="1"/>
          </p:cNvSpPr>
          <p:nvPr>
            <p:ph sz="half" idx="1"/>
          </p:nvPr>
        </p:nvSpPr>
        <p:spPr>
          <a:xfrm>
            <a:off x="533400" y="1371599"/>
            <a:ext cx="8077200" cy="5085471"/>
          </a:xfrm>
        </p:spPr>
        <p:txBody>
          <a:bodyPr/>
          <a:lstStyle/>
          <a:p>
            <a:r>
              <a:rPr lang="en-US" b="0" dirty="0"/>
              <a:t>Taskforce staff have reviewed </a:t>
            </a:r>
            <a:r>
              <a:rPr lang="en-US" b="0" dirty="0">
                <a:solidFill>
                  <a:srgbClr val="0070C0"/>
                </a:solidFill>
                <a:hlinkClick r:id="rId2">
                  <a:extLst>
                    <a:ext uri="{A12FA001-AC4F-418D-AE19-62706E023703}">
                      <ahyp:hlinkClr xmlns:ahyp="http://schemas.microsoft.com/office/drawing/2018/hyperlinkcolor" val="tx"/>
                    </a:ext>
                  </a:extLst>
                </a:hlinkClick>
              </a:rPr>
              <a:t>NCQA’s public comment request </a:t>
            </a:r>
            <a:r>
              <a:rPr lang="en-US" b="0" dirty="0"/>
              <a:t>for HEDIS measurement year 2022.</a:t>
            </a:r>
          </a:p>
          <a:p>
            <a:pPr>
              <a:spcAft>
                <a:spcPts val="600"/>
              </a:spcAft>
            </a:pPr>
            <a:r>
              <a:rPr lang="en-US" b="0" dirty="0"/>
              <a:t>In addition to the proposal on stratification by race and ethnicity for select HEDIS measures and new measures, we also want to share with you measures within the Aligned Measure Set with a proposed change.</a:t>
            </a:r>
          </a:p>
          <a:p>
            <a:pPr lvl="1"/>
            <a:r>
              <a:rPr lang="en-US" b="0" dirty="0"/>
              <a:t>We excluded measures without a substantive change.</a:t>
            </a:r>
          </a:p>
          <a:p>
            <a:r>
              <a:rPr lang="en-US" b="0" dirty="0"/>
              <a:t>One factor we’ve included for your consideration is ECDS reporting.  Before looking at individual measures with changes, we will review highlights from NCQA’s proposed ECDS reporting roadmap.</a:t>
            </a:r>
          </a:p>
          <a:p>
            <a:r>
              <a:rPr lang="en-US" dirty="0"/>
              <a:t>As we review these proposed changes, please consider whether any of these proposed changes would influence your recommendation on retention and placement of the given measure within the Aligned Measure Set for 2022.</a:t>
            </a:r>
          </a:p>
        </p:txBody>
      </p:sp>
    </p:spTree>
    <p:extLst>
      <p:ext uri="{BB962C8B-B14F-4D97-AF65-F5344CB8AC3E}">
        <p14:creationId xmlns:p14="http://schemas.microsoft.com/office/powerpoint/2010/main" val="44542999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26061-BCCD-4A85-846B-DC970B97F4FC}"/>
              </a:ext>
            </a:extLst>
          </p:cNvPr>
          <p:cNvSpPr>
            <a:spLocks noGrp="1"/>
          </p:cNvSpPr>
          <p:nvPr>
            <p:ph type="title"/>
          </p:nvPr>
        </p:nvSpPr>
        <p:spPr/>
        <p:txBody>
          <a:bodyPr/>
          <a:lstStyle/>
          <a:p>
            <a:r>
              <a:rPr lang="en-US" dirty="0"/>
              <a:t>ECDS Roadmap</a:t>
            </a:r>
          </a:p>
        </p:txBody>
      </p:sp>
      <p:sp>
        <p:nvSpPr>
          <p:cNvPr id="3" name="Content Placeholder 2">
            <a:extLst>
              <a:ext uri="{FF2B5EF4-FFF2-40B4-BE49-F238E27FC236}">
                <a16:creationId xmlns:a16="http://schemas.microsoft.com/office/drawing/2014/main" id="{D0E65412-C2A9-493A-A29B-2861F2AED47C}"/>
              </a:ext>
            </a:extLst>
          </p:cNvPr>
          <p:cNvSpPr>
            <a:spLocks noGrp="1"/>
          </p:cNvSpPr>
          <p:nvPr>
            <p:ph sz="half" idx="1"/>
          </p:nvPr>
        </p:nvSpPr>
        <p:spPr>
          <a:xfrm>
            <a:off x="533399" y="1315329"/>
            <a:ext cx="8483991" cy="5240216"/>
          </a:xfrm>
        </p:spPr>
        <p:txBody>
          <a:bodyPr/>
          <a:lstStyle/>
          <a:p>
            <a:r>
              <a:rPr lang="en-US" b="0" dirty="0"/>
              <a:t>ECDS is a HEDIS reporting standard introduced in 2015 that encourages the use and sharing of electronic clinical data across health care systems. </a:t>
            </a:r>
          </a:p>
          <a:p>
            <a:r>
              <a:rPr lang="en-US" b="0" dirty="0"/>
              <a:t>NCQA introduced a variety of measures for ECDS reporting over the last five years, including new measures addressing behavioral health and immunizations. </a:t>
            </a:r>
          </a:p>
          <a:p>
            <a:pPr>
              <a:spcAft>
                <a:spcPts val="600"/>
              </a:spcAft>
            </a:pPr>
            <a:r>
              <a:rPr lang="en-US" b="0" dirty="0"/>
              <a:t>For MY 2019, NCQA allowed voluntary ECDS reporting alongside traditional reporting for three existing HEDIS measures (two of which are Menu Set measures):</a:t>
            </a:r>
          </a:p>
          <a:p>
            <a:pPr lvl="1">
              <a:spcAft>
                <a:spcPts val="0"/>
              </a:spcAft>
            </a:pPr>
            <a:r>
              <a:rPr lang="en-US" b="0" dirty="0"/>
              <a:t>Breast Cancer Screening (BCS)</a:t>
            </a:r>
          </a:p>
          <a:p>
            <a:pPr lvl="1">
              <a:spcAft>
                <a:spcPts val="0"/>
              </a:spcAft>
            </a:pPr>
            <a:r>
              <a:rPr lang="en-US" b="0" dirty="0"/>
              <a:t>Follow-Up Care for Children Prescribed ADHD Medication (ADD)</a:t>
            </a:r>
          </a:p>
          <a:p>
            <a:pPr lvl="1"/>
            <a:r>
              <a:rPr lang="en-US" b="0" dirty="0"/>
              <a:t>Colorectal Cancer Screening (COL)</a:t>
            </a:r>
          </a:p>
          <a:p>
            <a:r>
              <a:rPr lang="en-US" dirty="0"/>
              <a:t>NCQA outlined a proposed timeline to remove the Administrative reporting method for BCS and ADD for MY 2023 and for the Hybrid method in COL for MY 2024.</a:t>
            </a:r>
            <a:endParaRPr lang="en-US" b="0" dirty="0"/>
          </a:p>
        </p:txBody>
      </p:sp>
    </p:spTree>
    <p:extLst>
      <p:ext uri="{BB962C8B-B14F-4D97-AF65-F5344CB8AC3E}">
        <p14:creationId xmlns:p14="http://schemas.microsoft.com/office/powerpoint/2010/main" val="116881247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526061-BCCD-4A85-846B-DC970B97F4FC}"/>
              </a:ext>
            </a:extLst>
          </p:cNvPr>
          <p:cNvSpPr>
            <a:spLocks noGrp="1"/>
          </p:cNvSpPr>
          <p:nvPr>
            <p:ph type="title"/>
          </p:nvPr>
        </p:nvSpPr>
        <p:spPr/>
        <p:txBody>
          <a:bodyPr/>
          <a:lstStyle/>
          <a:p>
            <a:r>
              <a:rPr lang="en-US" dirty="0"/>
              <a:t>ECDS Roadmap</a:t>
            </a:r>
          </a:p>
        </p:txBody>
      </p:sp>
      <p:sp>
        <p:nvSpPr>
          <p:cNvPr id="3" name="Content Placeholder 2">
            <a:extLst>
              <a:ext uri="{FF2B5EF4-FFF2-40B4-BE49-F238E27FC236}">
                <a16:creationId xmlns:a16="http://schemas.microsoft.com/office/drawing/2014/main" id="{D0E65412-C2A9-493A-A29B-2861F2AED47C}"/>
              </a:ext>
            </a:extLst>
          </p:cNvPr>
          <p:cNvSpPr>
            <a:spLocks noGrp="1"/>
          </p:cNvSpPr>
          <p:nvPr>
            <p:ph sz="half" idx="1"/>
          </p:nvPr>
        </p:nvSpPr>
        <p:spPr>
          <a:xfrm>
            <a:off x="533399" y="1315329"/>
            <a:ext cx="8483991" cy="4556234"/>
          </a:xfrm>
        </p:spPr>
        <p:txBody>
          <a:bodyPr/>
          <a:lstStyle/>
          <a:p>
            <a:r>
              <a:rPr lang="en-US" b="0" dirty="0"/>
              <a:t>NCQA also proposed expanding ECDS reporting.</a:t>
            </a:r>
          </a:p>
          <a:p>
            <a:pPr>
              <a:spcAft>
                <a:spcPts val="600"/>
              </a:spcAft>
            </a:pPr>
            <a:r>
              <a:rPr lang="en-US" b="0" dirty="0"/>
              <a:t>For MY2022:</a:t>
            </a:r>
          </a:p>
          <a:p>
            <a:pPr lvl="1">
              <a:spcAft>
                <a:spcPts val="0"/>
              </a:spcAft>
            </a:pPr>
            <a:r>
              <a:rPr lang="en-US" b="0" dirty="0"/>
              <a:t>Childhood Immunization Status (CIS)</a:t>
            </a:r>
          </a:p>
          <a:p>
            <a:pPr lvl="1">
              <a:spcAft>
                <a:spcPts val="0"/>
              </a:spcAft>
            </a:pPr>
            <a:r>
              <a:rPr lang="en-US" b="0" dirty="0"/>
              <a:t>Immunizations for Adolescents (IMA) and </a:t>
            </a:r>
          </a:p>
          <a:p>
            <a:pPr lvl="1"/>
            <a:r>
              <a:rPr lang="en-US" b="0" dirty="0"/>
              <a:t>Metabolic Monitoring for Children and Adolescents on Antipsychotics (APM). </a:t>
            </a:r>
          </a:p>
          <a:p>
            <a:pPr>
              <a:spcAft>
                <a:spcPts val="600"/>
              </a:spcAft>
            </a:pPr>
            <a:r>
              <a:rPr lang="en-US" b="0" dirty="0"/>
              <a:t>For MY2023:</a:t>
            </a:r>
          </a:p>
          <a:p>
            <a:pPr lvl="1"/>
            <a:r>
              <a:rPr lang="en-US" b="0" dirty="0"/>
              <a:t>Cervical Cancer Screening (CCS). </a:t>
            </a:r>
          </a:p>
        </p:txBody>
      </p:sp>
    </p:spTree>
    <p:extLst>
      <p:ext uri="{BB962C8B-B14F-4D97-AF65-F5344CB8AC3E}">
        <p14:creationId xmlns:p14="http://schemas.microsoft.com/office/powerpoint/2010/main" val="368337901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8AA6FB-E19D-4112-8C5B-2F069C7E9193}"/>
              </a:ext>
            </a:extLst>
          </p:cNvPr>
          <p:cNvSpPr>
            <a:spLocks noGrp="1"/>
          </p:cNvSpPr>
          <p:nvPr>
            <p:ph type="title"/>
          </p:nvPr>
        </p:nvSpPr>
        <p:spPr>
          <a:xfrm>
            <a:off x="736600" y="109538"/>
            <a:ext cx="6718300" cy="762000"/>
          </a:xfrm>
        </p:spPr>
        <p:txBody>
          <a:bodyPr/>
          <a:lstStyle/>
          <a:p>
            <a:r>
              <a:rPr lang="en-US" dirty="0"/>
              <a:t>Status updates on follow-up items from previous meetings</a:t>
            </a:r>
          </a:p>
        </p:txBody>
      </p:sp>
      <p:sp>
        <p:nvSpPr>
          <p:cNvPr id="3" name="Content Placeholder 2">
            <a:extLst>
              <a:ext uri="{FF2B5EF4-FFF2-40B4-BE49-F238E27FC236}">
                <a16:creationId xmlns:a16="http://schemas.microsoft.com/office/drawing/2014/main" id="{D4A8534B-B70C-4A4F-900E-3C9058F5AD18}"/>
              </a:ext>
            </a:extLst>
          </p:cNvPr>
          <p:cNvSpPr>
            <a:spLocks noGrp="1"/>
          </p:cNvSpPr>
          <p:nvPr>
            <p:ph sz="half" idx="1"/>
          </p:nvPr>
        </p:nvSpPr>
        <p:spPr>
          <a:xfrm>
            <a:off x="217462" y="1026941"/>
            <a:ext cx="8709075" cy="5387927"/>
          </a:xfrm>
        </p:spPr>
        <p:txBody>
          <a:bodyPr/>
          <a:lstStyle/>
          <a:p>
            <a:pPr marL="815975" lvl="2" indent="-457200">
              <a:buFont typeface="+mj-lt"/>
              <a:buAutoNum type="arabicPeriod"/>
            </a:pPr>
            <a:r>
              <a:rPr lang="en-US" sz="1900" b="0" u="sng" dirty="0">
                <a:latin typeface="Book Antiqua" panose="02040602050305030304" pitchFamily="18" charset="0"/>
                <a:cs typeface="Times New Roman" panose="02020603050405020304" pitchFamily="18" charset="0"/>
              </a:rPr>
              <a:t>Approach to engage community members in the health equity review </a:t>
            </a:r>
          </a:p>
          <a:p>
            <a:pPr marL="990600" lvl="3" indent="-457200">
              <a:spcAft>
                <a:spcPts val="0"/>
              </a:spcAft>
            </a:pPr>
            <a:r>
              <a:rPr lang="en-US" sz="1900" b="0" dirty="0">
                <a:latin typeface="Book Antiqua" panose="02040602050305030304" pitchFamily="18" charset="0"/>
                <a:cs typeface="Times New Roman" panose="02020603050405020304" pitchFamily="18" charset="0"/>
              </a:rPr>
              <a:t>In February, a member of the Taskforce recommended reaching out to the Mass Coalition for Health Equity. </a:t>
            </a:r>
          </a:p>
          <a:p>
            <a:pPr marL="990600" lvl="3" indent="-457200">
              <a:spcAft>
                <a:spcPts val="0"/>
              </a:spcAft>
            </a:pPr>
            <a:r>
              <a:rPr lang="en-US" sz="1900" b="0" dirty="0">
                <a:latin typeface="Book Antiqua" panose="02040602050305030304" pitchFamily="18" charset="0"/>
                <a:cs typeface="Times New Roman" panose="02020603050405020304" pitchFamily="18" charset="0"/>
              </a:rPr>
              <a:t>Taskforce staff have reached out to the Coalition explore whether there might be a way for them to interface with the Taskforce.</a:t>
            </a:r>
          </a:p>
          <a:p>
            <a:pPr marL="815975" lvl="2" indent="-457200">
              <a:buFont typeface="+mj-lt"/>
              <a:buAutoNum type="arabicPeriod"/>
            </a:pPr>
            <a:r>
              <a:rPr lang="en-US" sz="1900" u="sng" dirty="0">
                <a:latin typeface="Book Antiqua" panose="02040602050305030304" pitchFamily="18" charset="0"/>
                <a:cs typeface="Times New Roman" panose="02020603050405020304" pitchFamily="18" charset="0"/>
              </a:rPr>
              <a:t>Quality Measure Catalogue survey results</a:t>
            </a:r>
          </a:p>
          <a:p>
            <a:pPr marL="990600" lvl="3" indent="-457200">
              <a:spcAft>
                <a:spcPts val="0"/>
              </a:spcAft>
            </a:pPr>
            <a:r>
              <a:rPr lang="en-US" sz="1900" b="0" dirty="0">
                <a:latin typeface="Book Antiqua" panose="02040602050305030304" pitchFamily="18" charset="0"/>
                <a:cs typeface="Times New Roman" panose="02020603050405020304" pitchFamily="18" charset="0"/>
              </a:rPr>
              <a:t>We have revised how we are portraying results from the Quality Measure Catalogue survey to more accurately show adherence to the Aligned Measure Set and are in the process of conducting payer interviews</a:t>
            </a:r>
          </a:p>
          <a:p>
            <a:pPr marL="990600" lvl="3" indent="-457200"/>
            <a:r>
              <a:rPr lang="en-US" sz="1900" b="0" dirty="0">
                <a:latin typeface="Book Antiqua" panose="02040602050305030304" pitchFamily="18" charset="0"/>
                <a:cs typeface="Times New Roman" panose="02020603050405020304" pitchFamily="18" charset="0"/>
              </a:rPr>
              <a:t>We will share results during the April Taskforce meeting</a:t>
            </a:r>
          </a:p>
          <a:p>
            <a:pPr marL="815975" lvl="2" indent="-457200">
              <a:buFont typeface="+mj-lt"/>
              <a:buAutoNum type="arabicPeriod"/>
            </a:pPr>
            <a:r>
              <a:rPr lang="en-US" sz="1900" u="sng" dirty="0">
                <a:latin typeface="Book Antiqua" panose="02040602050305030304" pitchFamily="18" charset="0"/>
                <a:cs typeface="Times New Roman" panose="02020603050405020304" pitchFamily="18" charset="0"/>
              </a:rPr>
              <a:t>C</a:t>
            </a:r>
            <a:r>
              <a:rPr lang="en-US" sz="1900" b="0" u="sng" dirty="0">
                <a:latin typeface="Book Antiqua" panose="02040602050305030304" pitchFamily="18" charset="0"/>
                <a:cs typeface="Times New Roman" panose="02020603050405020304" pitchFamily="18" charset="0"/>
              </a:rPr>
              <a:t>onsideration of new candidate substance use disorder measures</a:t>
            </a:r>
          </a:p>
          <a:p>
            <a:pPr marL="990600" lvl="3" indent="-457200"/>
            <a:r>
              <a:rPr lang="en-US" sz="1900" b="0" dirty="0">
                <a:latin typeface="Book Antiqua" panose="02040602050305030304" pitchFamily="18" charset="0"/>
                <a:cs typeface="Times New Roman" panose="02020603050405020304" pitchFamily="18" charset="0"/>
              </a:rPr>
              <a:t>We will revisit this topic after the Substance Use Treatment Work Group meets. We will also revisit consideration of IET at this time.</a:t>
            </a:r>
          </a:p>
          <a:p>
            <a:pPr marL="815975" lvl="2" indent="-457200"/>
            <a:endParaRPr lang="en-US" sz="1900" b="0" dirty="0">
              <a:latin typeface="Book Antiqua" panose="02040602050305030304" pitchFamily="18" charset="0"/>
              <a:cs typeface="Times New Roman" panose="02020603050405020304" pitchFamily="18" charset="0"/>
            </a:endParaRPr>
          </a:p>
        </p:txBody>
      </p:sp>
    </p:spTree>
    <p:extLst>
      <p:ext uri="{BB962C8B-B14F-4D97-AF65-F5344CB8AC3E}">
        <p14:creationId xmlns:p14="http://schemas.microsoft.com/office/powerpoint/2010/main" val="2718904717"/>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Core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3821212244"/>
              </p:ext>
            </p:extLst>
          </p:nvPr>
        </p:nvGraphicFramePr>
        <p:xfrm>
          <a:off x="372010" y="1730613"/>
          <a:ext cx="8617245" cy="1397762"/>
        </p:xfrm>
        <a:graphic>
          <a:graphicData uri="http://schemas.openxmlformats.org/drawingml/2006/table">
            <a:tbl>
              <a:tblPr firstRow="1" bandRow="1">
                <a:tableStyleId>{21E4AEA4-8DFA-4A89-87EB-49C32662AFE0}</a:tableStyleId>
              </a:tblPr>
              <a:tblGrid>
                <a:gridCol w="1414587">
                  <a:extLst>
                    <a:ext uri="{9D8B030D-6E8A-4147-A177-3AD203B41FA5}">
                      <a16:colId xmlns:a16="http://schemas.microsoft.com/office/drawing/2014/main" val="731417345"/>
                    </a:ext>
                  </a:extLst>
                </a:gridCol>
                <a:gridCol w="1927274">
                  <a:extLst>
                    <a:ext uri="{9D8B030D-6E8A-4147-A177-3AD203B41FA5}">
                      <a16:colId xmlns:a16="http://schemas.microsoft.com/office/drawing/2014/main" val="1596741704"/>
                    </a:ext>
                  </a:extLst>
                </a:gridCol>
                <a:gridCol w="1776979">
                  <a:extLst>
                    <a:ext uri="{9D8B030D-6E8A-4147-A177-3AD203B41FA5}">
                      <a16:colId xmlns:a16="http://schemas.microsoft.com/office/drawing/2014/main" val="4086444159"/>
                    </a:ext>
                  </a:extLst>
                </a:gridCol>
                <a:gridCol w="3498405">
                  <a:extLst>
                    <a:ext uri="{9D8B030D-6E8A-4147-A177-3AD203B41FA5}">
                      <a16:colId xmlns:a16="http://schemas.microsoft.com/office/drawing/2014/main" val="1409331891"/>
                    </a:ext>
                  </a:extLst>
                </a:gridCol>
              </a:tblGrid>
              <a:tr h="0">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800" b="1" dirty="0">
                          <a:effectLst/>
                          <a:latin typeface="Book Antiqua" panose="02040602050305030304" pitchFamily="18" charset="0"/>
                          <a:cs typeface="Times New Roman" panose="02020603050405020304" pitchFamily="18" charset="0"/>
                        </a:rPr>
                        <a:t>Core  Set</a:t>
                      </a:r>
                      <a:endParaRPr lang="en-US" sz="18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algn="l">
                        <a:lnSpc>
                          <a:spcPct val="100000"/>
                        </a:lnSpc>
                        <a:spcBef>
                          <a:spcPts val="600"/>
                        </a:spcBef>
                        <a:spcAft>
                          <a:spcPts val="12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Controlling High Blood Pressu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rPr>
                        <a:t>MY 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83145681"/>
                  </a:ext>
                </a:extLst>
              </a:tr>
            </a:tbl>
          </a:graphicData>
        </a:graphic>
      </p:graphicFrame>
    </p:spTree>
    <p:extLst>
      <p:ext uri="{BB962C8B-B14F-4D97-AF65-F5344CB8AC3E}">
        <p14:creationId xmlns:p14="http://schemas.microsoft.com/office/powerpoint/2010/main" val="1387018150"/>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enu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2050820913"/>
              </p:ext>
            </p:extLst>
          </p:nvPr>
        </p:nvGraphicFramePr>
        <p:xfrm>
          <a:off x="232118" y="1204922"/>
          <a:ext cx="8764172" cy="5663629"/>
        </p:xfrm>
        <a:graphic>
          <a:graphicData uri="http://schemas.openxmlformats.org/drawingml/2006/table">
            <a:tbl>
              <a:tblPr firstRow="1" bandRow="1">
                <a:tableStyleId>{21E4AEA4-8DFA-4A89-87EB-49C32662AFE0}</a:tableStyleId>
              </a:tblPr>
              <a:tblGrid>
                <a:gridCol w="1364566">
                  <a:extLst>
                    <a:ext uri="{9D8B030D-6E8A-4147-A177-3AD203B41FA5}">
                      <a16:colId xmlns:a16="http://schemas.microsoft.com/office/drawing/2014/main" val="731417345"/>
                    </a:ext>
                  </a:extLst>
                </a:gridCol>
                <a:gridCol w="1575581">
                  <a:extLst>
                    <a:ext uri="{9D8B030D-6E8A-4147-A177-3AD203B41FA5}">
                      <a16:colId xmlns:a16="http://schemas.microsoft.com/office/drawing/2014/main" val="1596741704"/>
                    </a:ext>
                  </a:extLst>
                </a:gridCol>
                <a:gridCol w="2307102">
                  <a:extLst>
                    <a:ext uri="{9D8B030D-6E8A-4147-A177-3AD203B41FA5}">
                      <a16:colId xmlns:a16="http://schemas.microsoft.com/office/drawing/2014/main" val="4086444159"/>
                    </a:ext>
                  </a:extLst>
                </a:gridCol>
                <a:gridCol w="3516923">
                  <a:extLst>
                    <a:ext uri="{9D8B030D-6E8A-4147-A177-3AD203B41FA5}">
                      <a16:colId xmlns:a16="http://schemas.microsoft.com/office/drawing/2014/main"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700" b="1" dirty="0">
                          <a:effectLst/>
                          <a:latin typeface="Book Antiqua" panose="02040602050305030304" pitchFamily="18" charset="0"/>
                          <a:cs typeface="Times New Roman" panose="02020603050405020304" pitchFamily="18" charset="0"/>
                        </a:rPr>
                        <a:t>Menu Set</a:t>
                      </a:r>
                      <a:endParaRPr lang="en-US" sz="17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Breast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700" dirty="0">
                          <a:latin typeface="Book Antiqua" panose="02040602050305030304" pitchFamily="18" charset="0"/>
                        </a:rPr>
                        <a:t>MY2022 –ECDS Optional</a:t>
                      </a:r>
                    </a:p>
                    <a:p>
                      <a:pPr algn="l"/>
                      <a:r>
                        <a:rPr lang="en-US" sz="1700" dirty="0">
                          <a:latin typeface="Book Antiqua" panose="02040602050305030304" pitchFamily="18" charset="0"/>
                        </a:rPr>
                        <a:t>MY2023 – ECDS Onl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665735"/>
                  </a:ext>
                </a:extLst>
              </a:tr>
              <a:tr h="339432">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ervical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MY2023 –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479701"/>
                  </a:ext>
                </a:extLst>
              </a:tr>
              <a:tr h="339432">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hildhood Immunization Status (Combo 1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MY2022 –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MY 2022, previous optional exclusions for contraindications to vaccinations for CIS and IMA will be respecified as required exclusions or included in the numerator to better align with their clinical int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61701861"/>
                  </a:ext>
                </a:extLst>
              </a:tr>
              <a:tr h="575298">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700" dirty="0">
                          <a:effectLst/>
                          <a:latin typeface="Book Antiqua" panose="02040602050305030304" pitchFamily="18" charset="0"/>
                          <a:ea typeface="Calibri" panose="020F0502020204030204" pitchFamily="34" charset="0"/>
                          <a:cs typeface="Times New Roman" panose="02020603050405020304" pitchFamily="18" charset="0"/>
                        </a:rPr>
                        <a:t>Colorectal Cancer Screen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7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r>
                        <a:rPr lang="en-US" sz="1700" dirty="0">
                          <a:latin typeface="Book Antiqua" panose="02040602050305030304" pitchFamily="18" charset="0"/>
                        </a:rPr>
                        <a:t>MY2022 – ECDS Optional</a:t>
                      </a:r>
                    </a:p>
                    <a:p>
                      <a:pPr algn="l"/>
                      <a:r>
                        <a:rPr lang="en-US" sz="1700" dirty="0">
                          <a:latin typeface="Book Antiqua" panose="02040602050305030304" pitchFamily="18" charset="0"/>
                        </a:rPr>
                        <a:t>MY2023 – ECDS Only</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46065111"/>
                  </a:ext>
                </a:extLst>
              </a:tr>
              <a:tr h="575298">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Comp. Diabetes Care: Eye Exam</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7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700" dirty="0">
                          <a:latin typeface="Book Antiqua" panose="02040602050305030304" pitchFamily="18" charset="0"/>
                        </a:rPr>
                        <a:t>Non-substantiv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2540020"/>
                  </a:ext>
                </a:extLst>
              </a:tr>
            </a:tbl>
          </a:graphicData>
        </a:graphic>
      </p:graphicFrame>
    </p:spTree>
    <p:extLst>
      <p:ext uri="{BB962C8B-B14F-4D97-AF65-F5344CB8AC3E}">
        <p14:creationId xmlns:p14="http://schemas.microsoft.com/office/powerpoint/2010/main" val="119044173"/>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enu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3103379871"/>
              </p:ext>
            </p:extLst>
          </p:nvPr>
        </p:nvGraphicFramePr>
        <p:xfrm>
          <a:off x="218050" y="1082556"/>
          <a:ext cx="8764172" cy="5387785"/>
        </p:xfrm>
        <a:graphic>
          <a:graphicData uri="http://schemas.openxmlformats.org/drawingml/2006/table">
            <a:tbl>
              <a:tblPr firstRow="1" bandRow="1">
                <a:tableStyleId>{21E4AEA4-8DFA-4A89-87EB-49C32662AFE0}</a:tableStyleId>
              </a:tblPr>
              <a:tblGrid>
                <a:gridCol w="2271932">
                  <a:extLst>
                    <a:ext uri="{9D8B030D-6E8A-4147-A177-3AD203B41FA5}">
                      <a16:colId xmlns:a16="http://schemas.microsoft.com/office/drawing/2014/main" val="731417345"/>
                    </a:ext>
                  </a:extLst>
                </a:gridCol>
                <a:gridCol w="1420836">
                  <a:extLst>
                    <a:ext uri="{9D8B030D-6E8A-4147-A177-3AD203B41FA5}">
                      <a16:colId xmlns:a16="http://schemas.microsoft.com/office/drawing/2014/main" val="1596741704"/>
                    </a:ext>
                  </a:extLst>
                </a:gridCol>
                <a:gridCol w="1603717">
                  <a:extLst>
                    <a:ext uri="{9D8B030D-6E8A-4147-A177-3AD203B41FA5}">
                      <a16:colId xmlns:a16="http://schemas.microsoft.com/office/drawing/2014/main" val="4086444159"/>
                    </a:ext>
                  </a:extLst>
                </a:gridCol>
                <a:gridCol w="3467687">
                  <a:extLst>
                    <a:ext uri="{9D8B030D-6E8A-4147-A177-3AD203B41FA5}">
                      <a16:colId xmlns:a16="http://schemas.microsoft.com/office/drawing/2014/main"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600" b="1" dirty="0">
                          <a:effectLst/>
                          <a:latin typeface="Book Antiqua" panose="02040602050305030304" pitchFamily="18" charset="0"/>
                          <a:cs typeface="Times New Roman" panose="02020603050405020304" pitchFamily="18" charset="0"/>
                        </a:rPr>
                        <a:t>Menu Set</a:t>
                      </a:r>
                      <a:endParaRPr lang="en-US" sz="16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Immunizations for Adolescents (Combo 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MY2022 –ECDS Optional</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4639019"/>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Initiation and Engagement of Alcohol and Other Drug Abuse or Dependence Treat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r>
                        <a:rPr lang="en-US" sz="1600" dirty="0">
                          <a:latin typeface="Book Antiqua" panose="02040602050305030304" pitchFamily="18" charset="0"/>
                        </a:rPr>
                        <a:t>Numerous spec. changes to be discussed by the SUT Work Group and then revisited by the Taskforc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2847301"/>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Metabolic Monitoring for Children and Adolescents on Antipsychotic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Book Antiqua" panose="02040602050305030304" pitchFamily="18" charset="0"/>
                        </a:rPr>
                        <a:t>MY2022 –ECDS Optional</a:t>
                      </a:r>
                    </a:p>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0000"/>
                        </a:lnSpc>
                        <a:spcBef>
                          <a:spcPts val="0"/>
                        </a:spcBef>
                        <a:spcAft>
                          <a:spcPts val="1200"/>
                        </a:spcAft>
                      </a:pPr>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8841348"/>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Use of Imaging Studies for Low Back Pain</a:t>
                      </a:r>
                    </a:p>
                    <a:p>
                      <a:pPr marL="0" marR="0" lvl="0" indent="0" algn="l" defTabSz="914400" rtl="0" eaLnBrk="1" fontAlgn="auto" latinLnBrk="0" hangingPunct="1">
                        <a:lnSpc>
                          <a:spcPct val="100000"/>
                        </a:lnSpc>
                        <a:spcBef>
                          <a:spcPts val="600"/>
                        </a:spcBef>
                        <a:spcAft>
                          <a:spcPts val="1200"/>
                        </a:spcAft>
                        <a:buClrTx/>
                        <a:buSzTx/>
                        <a:buFontTx/>
                        <a:buNone/>
                        <a:tabLst/>
                        <a:defRPr/>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6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6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marR="0" lvl="0" indent="-342900">
                        <a:lnSpc>
                          <a:spcPct val="100000"/>
                        </a:lnSpc>
                        <a:spcBef>
                          <a:spcPts val="0"/>
                        </a:spcBef>
                        <a:spcAft>
                          <a:spcPts val="0"/>
                        </a:spcAft>
                        <a:buFont typeface="Symbol" panose="05050102010706020507" pitchFamily="18" charset="2"/>
                        <a:buChar cha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expanding the upper age limit from 50 to 74 years of age, </a:t>
                      </a:r>
                    </a:p>
                    <a:p>
                      <a:pPr marL="342900" marR="0" lvl="0" indent="-342900">
                        <a:lnSpc>
                          <a:spcPct val="100000"/>
                        </a:lnSpc>
                        <a:spcBef>
                          <a:spcPts val="0"/>
                        </a:spcBef>
                        <a:spcAft>
                          <a:spcPts val="0"/>
                        </a:spcAft>
                        <a:buFont typeface="Symbol" panose="05050102010706020507" pitchFamily="18" charset="2"/>
                        <a:buChar cha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applying four additional guidelines-based clinical exclusions and </a:t>
                      </a:r>
                    </a:p>
                    <a:p>
                      <a:pPr marL="342900" marR="0" lvl="0" indent="-342900">
                        <a:lnSpc>
                          <a:spcPct val="100000"/>
                        </a:lnSpc>
                        <a:spcBef>
                          <a:spcPts val="0"/>
                        </a:spcBef>
                        <a:spcAft>
                          <a:spcPts val="0"/>
                        </a:spcAft>
                        <a:buFont typeface="Symbol" panose="05050102010706020507" pitchFamily="18" charset="2"/>
                        <a:buChar char=""/>
                      </a:pPr>
                      <a:r>
                        <a:rPr lang="en-US" sz="1600" dirty="0">
                          <a:effectLst/>
                          <a:latin typeface="Book Antiqua" panose="02040602050305030304" pitchFamily="18" charset="0"/>
                          <a:ea typeface="Calibri" panose="020F0502020204030204" pitchFamily="34" charset="0"/>
                          <a:cs typeface="Times New Roman" panose="02020603050405020304" pitchFamily="18" charset="0"/>
                        </a:rPr>
                        <a:t>applying existing cross-cutting exclusions for members with advanced illness/frailty and in palliative care.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0219771"/>
                  </a:ext>
                </a:extLst>
              </a:tr>
            </a:tbl>
          </a:graphicData>
        </a:graphic>
      </p:graphicFrame>
    </p:spTree>
    <p:extLst>
      <p:ext uri="{BB962C8B-B14F-4D97-AF65-F5344CB8AC3E}">
        <p14:creationId xmlns:p14="http://schemas.microsoft.com/office/powerpoint/2010/main" val="566731374"/>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6FD0C-8DF5-4BA6-ACE9-9C287CEBA250}"/>
              </a:ext>
            </a:extLst>
          </p:cNvPr>
          <p:cNvSpPr>
            <a:spLocks noGrp="1"/>
          </p:cNvSpPr>
          <p:nvPr>
            <p:ph type="title"/>
          </p:nvPr>
        </p:nvSpPr>
        <p:spPr>
          <a:xfrm>
            <a:off x="736600" y="109538"/>
            <a:ext cx="6845886" cy="762000"/>
          </a:xfrm>
        </p:spPr>
        <p:txBody>
          <a:bodyPr/>
          <a:lstStyle/>
          <a:p>
            <a:r>
              <a:rPr lang="en-US" dirty="0"/>
              <a:t>Impact of Proposed Changes on the MA Aligned Measure Set  - Monitoring Measures</a:t>
            </a:r>
          </a:p>
        </p:txBody>
      </p:sp>
      <p:sp>
        <p:nvSpPr>
          <p:cNvPr id="3" name="Content Placeholder 2">
            <a:extLst>
              <a:ext uri="{FF2B5EF4-FFF2-40B4-BE49-F238E27FC236}">
                <a16:creationId xmlns:a16="http://schemas.microsoft.com/office/drawing/2014/main" id="{8796EEB6-D932-4959-A2CE-5635ED427A24}"/>
              </a:ext>
            </a:extLst>
          </p:cNvPr>
          <p:cNvSpPr>
            <a:spLocks noGrp="1"/>
          </p:cNvSpPr>
          <p:nvPr>
            <p:ph sz="half" idx="1"/>
          </p:nvPr>
        </p:nvSpPr>
        <p:spPr>
          <a:xfrm>
            <a:off x="533400" y="1371599"/>
            <a:ext cx="8077200" cy="5226149"/>
          </a:xfrm>
        </p:spPr>
        <p:txBody>
          <a:bodyPr/>
          <a:lstStyle/>
          <a:p>
            <a:endParaRPr lang="en-US" dirty="0"/>
          </a:p>
          <a:p>
            <a:endParaRPr lang="en-US" dirty="0"/>
          </a:p>
          <a:p>
            <a:endParaRPr lang="en-US" dirty="0"/>
          </a:p>
        </p:txBody>
      </p:sp>
      <p:graphicFrame>
        <p:nvGraphicFramePr>
          <p:cNvPr id="5" name="Table 5">
            <a:extLst>
              <a:ext uri="{FF2B5EF4-FFF2-40B4-BE49-F238E27FC236}">
                <a16:creationId xmlns:a16="http://schemas.microsoft.com/office/drawing/2014/main" id="{96EDC3CB-491E-487B-8655-0D1E72ED314F}"/>
              </a:ext>
            </a:extLst>
          </p:cNvPr>
          <p:cNvGraphicFramePr>
            <a:graphicFrameLocks noGrp="1"/>
          </p:cNvGraphicFramePr>
          <p:nvPr>
            <p:extLst>
              <p:ext uri="{D42A27DB-BD31-4B8C-83A1-F6EECF244321}">
                <p14:modId xmlns:p14="http://schemas.microsoft.com/office/powerpoint/2010/main" val="1949624466"/>
              </p:ext>
            </p:extLst>
          </p:nvPr>
        </p:nvGraphicFramePr>
        <p:xfrm>
          <a:off x="189914" y="1071119"/>
          <a:ext cx="8764172" cy="4415282"/>
        </p:xfrm>
        <a:graphic>
          <a:graphicData uri="http://schemas.openxmlformats.org/drawingml/2006/table">
            <a:tbl>
              <a:tblPr firstRow="1" bandRow="1">
                <a:tableStyleId>{21E4AEA4-8DFA-4A89-87EB-49C32662AFE0}</a:tableStyleId>
              </a:tblPr>
              <a:tblGrid>
                <a:gridCol w="2314134">
                  <a:extLst>
                    <a:ext uri="{9D8B030D-6E8A-4147-A177-3AD203B41FA5}">
                      <a16:colId xmlns:a16="http://schemas.microsoft.com/office/drawing/2014/main" val="731417345"/>
                    </a:ext>
                  </a:extLst>
                </a:gridCol>
                <a:gridCol w="2293034">
                  <a:extLst>
                    <a:ext uri="{9D8B030D-6E8A-4147-A177-3AD203B41FA5}">
                      <a16:colId xmlns:a16="http://schemas.microsoft.com/office/drawing/2014/main" val="1596741704"/>
                    </a:ext>
                  </a:extLst>
                </a:gridCol>
                <a:gridCol w="2124222">
                  <a:extLst>
                    <a:ext uri="{9D8B030D-6E8A-4147-A177-3AD203B41FA5}">
                      <a16:colId xmlns:a16="http://schemas.microsoft.com/office/drawing/2014/main" val="4086444159"/>
                    </a:ext>
                  </a:extLst>
                </a:gridCol>
                <a:gridCol w="2032782">
                  <a:extLst>
                    <a:ext uri="{9D8B030D-6E8A-4147-A177-3AD203B41FA5}">
                      <a16:colId xmlns:a16="http://schemas.microsoft.com/office/drawing/2014/main" val="1409331891"/>
                    </a:ext>
                  </a:extLst>
                </a:gridCol>
              </a:tblGrid>
              <a:tr h="301366">
                <a:tc>
                  <a:txBody>
                    <a:bodyPr/>
                    <a:lstStyle/>
                    <a:p>
                      <a:pPr marL="0" marR="0" lvl="0" indent="0" algn="l" defTabSz="914400" rtl="0" eaLnBrk="1" fontAlgn="auto" latinLnBrk="0" hangingPunct="1">
                        <a:lnSpc>
                          <a:spcPct val="107000"/>
                        </a:lnSpc>
                        <a:spcBef>
                          <a:spcPts val="600"/>
                        </a:spcBef>
                        <a:spcAft>
                          <a:spcPts val="600"/>
                        </a:spcAft>
                        <a:buClrTx/>
                        <a:buSzTx/>
                        <a:buFontTx/>
                        <a:buNone/>
                        <a:tabLst/>
                        <a:defRPr/>
                      </a:pPr>
                      <a:r>
                        <a:rPr lang="en-US" sz="1800" b="1" dirty="0">
                          <a:effectLst/>
                          <a:latin typeface="Book Antiqua" panose="02040602050305030304" pitchFamily="18" charset="0"/>
                          <a:cs typeface="Times New Roman" panose="02020603050405020304" pitchFamily="18" charset="0"/>
                        </a:rPr>
                        <a:t>Monitoring Set</a:t>
                      </a:r>
                      <a:endParaRPr lang="en-US" sz="1800" b="1" dirty="0">
                        <a:effectLst/>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R/E Stratificatio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Transition to ECD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tc>
                  <a:txBody>
                    <a:bodyPr/>
                    <a:lstStyle/>
                    <a:p>
                      <a:pPr marL="0" marR="0">
                        <a:lnSpc>
                          <a:spcPct val="107000"/>
                        </a:lnSpc>
                        <a:spcBef>
                          <a:spcPts val="600"/>
                        </a:spcBef>
                        <a:spcAft>
                          <a:spcPts val="6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Spec. Chang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23467"/>
                    </a:solidFill>
                  </a:tcPr>
                </a:tc>
                <a:extLst>
                  <a:ext uri="{0D108BD9-81ED-4DB2-BD59-A6C34878D82A}">
                    <a16:rowId xmlns:a16="http://schemas.microsoft.com/office/drawing/2014/main" val="346718594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Comprehensive Diabetes Care: Hemoglobin A1c Testing</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Retired for 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6304533"/>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Prenatal &amp; Postpartum Care: Timeliness of Prenatal Ca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lgn="l">
                        <a:lnSpc>
                          <a:spcPct val="100000"/>
                        </a:lnSpc>
                        <a:spcBef>
                          <a:spcPts val="600"/>
                        </a:spcBef>
                        <a:spcAft>
                          <a:spcPts val="1200"/>
                        </a:spcAft>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0439852"/>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Prenatal and Postpartum Care: Postpartum Car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2022</a:t>
                      </a:r>
                    </a:p>
                    <a:p>
                      <a:pPr marL="0" marR="0" algn="l">
                        <a:lnSpc>
                          <a:spcPct val="100000"/>
                        </a:lnSpc>
                        <a:spcBef>
                          <a:spcPts val="600"/>
                        </a:spcBef>
                        <a:spcAft>
                          <a:spcPts val="1200"/>
                        </a:spcAft>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00993782"/>
                  </a:ext>
                </a:extLst>
              </a:tr>
              <a:tr h="0">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Well-Child Visits in the First 30 Months of Lif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600"/>
                        </a:spcBef>
                        <a:spcAft>
                          <a:spcPts val="1200"/>
                        </a:spcAft>
                        <a:buClrTx/>
                        <a:buSzTx/>
                        <a:buFontTx/>
                        <a:buNone/>
                        <a:tabLst/>
                        <a:defRPr/>
                      </a:pPr>
                      <a:r>
                        <a:rPr lang="en-US" sz="1800" dirty="0">
                          <a:effectLst/>
                          <a:latin typeface="Book Antiqua" panose="02040602050305030304" pitchFamily="18" charset="0"/>
                          <a:ea typeface="Calibri" panose="020F0502020204030204" pitchFamily="34" charset="0"/>
                          <a:cs typeface="Times New Roman" panose="02020603050405020304" pitchFamily="18" charset="0"/>
                        </a:rPr>
                        <a:t>MY202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lang="en-US" sz="1800" dirty="0">
                        <a:latin typeface="Book Antiqua" panose="0204060205030503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lang="en-US" sz="1800" dirty="0">
                        <a:effectLst/>
                        <a:latin typeface="Book Antiqua" panose="02040602050305030304" pitchFamily="18"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3477470"/>
                  </a:ext>
                </a:extLst>
              </a:tr>
            </a:tbl>
          </a:graphicData>
        </a:graphic>
      </p:graphicFrame>
    </p:spTree>
    <p:extLst>
      <p:ext uri="{BB962C8B-B14F-4D97-AF65-F5344CB8AC3E}">
        <p14:creationId xmlns:p14="http://schemas.microsoft.com/office/powerpoint/2010/main" val="1234897451"/>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tatus updates</a:t>
            </a:r>
          </a:p>
          <a:p>
            <a:pPr marL="644525" lvl="1" indent="-457200">
              <a:buFont typeface="+mj-lt"/>
              <a:buAutoNum type="alphaLcPeriod"/>
            </a:pPr>
            <a:r>
              <a:rPr lang="en-US" sz="2200" b="0" dirty="0">
                <a:cs typeface="Times New Roman" panose="02020603050405020304" pitchFamily="18" charset="0"/>
              </a:rPr>
              <a:t>Language on maximum number of measures per contract</a:t>
            </a:r>
          </a:p>
          <a:p>
            <a:pPr marL="644525" lvl="1" indent="-457200">
              <a:buFont typeface="+mj-lt"/>
              <a:buAutoNum type="alphaLcPeriod"/>
            </a:pPr>
            <a:r>
              <a:rPr lang="en-US" sz="2200" b="0" dirty="0"/>
              <a:t>Consider possible new measures</a:t>
            </a:r>
          </a:p>
          <a:p>
            <a:pPr marL="644525" lvl="1" indent="-457200">
              <a:buFont typeface="+mj-lt"/>
              <a:buAutoNum type="alphaLcPeriod"/>
            </a:pPr>
            <a:r>
              <a:rPr lang="en-US" sz="2200" b="0" dirty="0">
                <a:cs typeface="Times New Roman" panose="02020603050405020304" pitchFamily="18" charset="0"/>
              </a:rPr>
              <a:t>Consider proposed HEDIS changes</a:t>
            </a:r>
            <a:endParaRPr lang="en-US" sz="2200" dirty="0">
              <a:cs typeface="Times New Roman" panose="02020603050405020304" pitchFamily="18" charset="0"/>
            </a:endParaRP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4329846"/>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81920087"/>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20C66-4A72-4D9F-8CA2-37792391F48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789EBB61-BF5A-4C35-881F-E12FEF30E1AF}"/>
              </a:ext>
            </a:extLst>
          </p:cNvPr>
          <p:cNvSpPr>
            <a:spLocks noGrp="1"/>
          </p:cNvSpPr>
          <p:nvPr>
            <p:ph sz="half" idx="1"/>
          </p:nvPr>
        </p:nvSpPr>
        <p:spPr/>
        <p:txBody>
          <a:bodyPr/>
          <a:lstStyle/>
          <a:p>
            <a:r>
              <a:rPr lang="en-US" dirty="0"/>
              <a:t>The next Taskforce meeting is scheduled for April 20</a:t>
            </a:r>
            <a:r>
              <a:rPr lang="en-US" baseline="30000" dirty="0"/>
              <a:t>th</a:t>
            </a:r>
            <a:r>
              <a:rPr lang="en-US" dirty="0"/>
              <a:t> from 2:00 – 4:00 pm.</a:t>
            </a:r>
          </a:p>
          <a:p>
            <a:r>
              <a:rPr lang="en-US" dirty="0"/>
              <a:t>During that meeting we will plan to discuss:</a:t>
            </a:r>
          </a:p>
          <a:p>
            <a:pPr lvl="1"/>
            <a:r>
              <a:rPr lang="en-US" b="0" dirty="0"/>
              <a:t>Follow-up items from today’s meeting</a:t>
            </a:r>
          </a:p>
          <a:p>
            <a:pPr lvl="1"/>
            <a:r>
              <a:rPr lang="en-US" b="0" dirty="0"/>
              <a:t>Revisit Quality Measure Catalogue survey results</a:t>
            </a:r>
          </a:p>
          <a:p>
            <a:pPr lvl="1"/>
            <a:r>
              <a:rPr lang="en-US" b="0" dirty="0">
                <a:latin typeface="Book Antiqua" panose="02040602050305030304" pitchFamily="18" charset="0"/>
              </a:rPr>
              <a:t>Recommendations from the Substance Use Treatment Measure work group</a:t>
            </a:r>
          </a:p>
          <a:p>
            <a:pPr lvl="1"/>
            <a:r>
              <a:rPr lang="en-US" b="0" dirty="0"/>
              <a:t>Care coordination measures for consideration</a:t>
            </a:r>
          </a:p>
          <a:p>
            <a:pPr lvl="1"/>
            <a:endParaRPr lang="en-US" b="0" dirty="0"/>
          </a:p>
          <a:p>
            <a:endParaRPr lang="en-US" dirty="0"/>
          </a:p>
        </p:txBody>
      </p:sp>
    </p:spTree>
    <p:extLst>
      <p:ext uri="{BB962C8B-B14F-4D97-AF65-F5344CB8AC3E}">
        <p14:creationId xmlns:p14="http://schemas.microsoft.com/office/powerpoint/2010/main" val="298780678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tatus updates</a:t>
            </a:r>
          </a:p>
          <a:p>
            <a:pPr marL="644525" lvl="1" indent="-457200">
              <a:buFont typeface="+mj-lt"/>
              <a:buAutoNum type="alphaLcPeriod"/>
            </a:pPr>
            <a:r>
              <a:rPr lang="en-US" sz="2200" b="0" dirty="0">
                <a:cs typeface="Times New Roman" panose="02020603050405020304" pitchFamily="18" charset="0"/>
              </a:rPr>
              <a:t>Language on maximum number of measures per contract</a:t>
            </a:r>
          </a:p>
          <a:p>
            <a:pPr marL="644525" lvl="1" indent="-457200">
              <a:buFont typeface="+mj-lt"/>
              <a:buAutoNum type="alphaLcPeriod"/>
            </a:pPr>
            <a:r>
              <a:rPr lang="en-US" sz="2200" b="0" dirty="0"/>
              <a:t>Consider possible new measures</a:t>
            </a:r>
          </a:p>
          <a:p>
            <a:pPr marL="644525" lvl="1" indent="-457200">
              <a:buFont typeface="+mj-lt"/>
              <a:buAutoNum type="alphaLcPeriod"/>
            </a:pPr>
            <a:r>
              <a:rPr lang="en-US" sz="2200" b="0" dirty="0">
                <a:cs typeface="Times New Roman" panose="02020603050405020304" pitchFamily="18" charset="0"/>
              </a:rPr>
              <a:t>Consider proposed HEDIS changes</a:t>
            </a:r>
            <a:endParaRPr lang="en-US" sz="2200" dirty="0">
              <a:cs typeface="Times New Roman" panose="02020603050405020304" pitchFamily="18" charset="0"/>
            </a:endParaRP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2810540"/>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80039730"/>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F7715-CA94-487B-BAF7-07B2CB2DC830}"/>
              </a:ext>
            </a:extLst>
          </p:cNvPr>
          <p:cNvSpPr>
            <a:spLocks noGrp="1"/>
          </p:cNvSpPr>
          <p:nvPr>
            <p:ph type="title"/>
          </p:nvPr>
        </p:nvSpPr>
        <p:spPr/>
        <p:txBody>
          <a:bodyPr/>
          <a:lstStyle/>
          <a:p>
            <a:r>
              <a:rPr lang="en-US" dirty="0"/>
              <a:t>Language on maximum number of measures per contract</a:t>
            </a:r>
          </a:p>
        </p:txBody>
      </p:sp>
      <p:sp>
        <p:nvSpPr>
          <p:cNvPr id="3" name="Content Placeholder 2">
            <a:extLst>
              <a:ext uri="{FF2B5EF4-FFF2-40B4-BE49-F238E27FC236}">
                <a16:creationId xmlns:a16="http://schemas.microsoft.com/office/drawing/2014/main" id="{1E153C1F-EEE1-4406-AC25-738FF1B48C67}"/>
              </a:ext>
            </a:extLst>
          </p:cNvPr>
          <p:cNvSpPr>
            <a:spLocks noGrp="1"/>
          </p:cNvSpPr>
          <p:nvPr>
            <p:ph sz="half" idx="1"/>
          </p:nvPr>
        </p:nvSpPr>
        <p:spPr>
          <a:xfrm>
            <a:off x="337627" y="1019904"/>
            <a:ext cx="8721969" cy="5838095"/>
          </a:xfrm>
        </p:spPr>
        <p:txBody>
          <a:bodyPr/>
          <a:lstStyle/>
          <a:p>
            <a:r>
              <a:rPr lang="en-US" b="0" dirty="0"/>
              <a:t>In February, the Taskforce recommended development of parameters on the total number of measures recommended for use within a global budget-based risk contract.</a:t>
            </a:r>
          </a:p>
          <a:p>
            <a:pPr>
              <a:spcAft>
                <a:spcPts val="1800"/>
              </a:spcAft>
            </a:pPr>
            <a:r>
              <a:rPr lang="en-US" b="0" dirty="0"/>
              <a:t>We recommend the following language be added to the 2022 Measures and Implementation Parameters under Appendix B “Guiding Principles for Use of the Aligned Measure Set in Contracts”:</a:t>
            </a:r>
          </a:p>
          <a:p>
            <a:pPr marL="0" indent="0">
              <a:buNone/>
            </a:pPr>
            <a:r>
              <a:rPr lang="en-US" i="1" dirty="0"/>
              <a:t>Total Number of Measure for Use in a Contract</a:t>
            </a:r>
          </a:p>
          <a:p>
            <a:pPr marL="0" indent="0">
              <a:buNone/>
            </a:pPr>
            <a:r>
              <a:rPr lang="en-US" b="0" i="1" dirty="0"/>
              <a:t>The Taskforce aims to harmonize the use of quality measures across contracts and to reduce administrative burden on providers.  In pursuit of those aims, the Taskforce recommends that payers and providers choosing to use the Aligned Measure Set limit the number of measures used in any given contract to 15 or fewer (this number excludes hospital measures). Contracting dyads should also consider the following:</a:t>
            </a:r>
          </a:p>
          <a:p>
            <a:pPr lvl="1">
              <a:spcAft>
                <a:spcPts val="0"/>
              </a:spcAft>
            </a:pPr>
            <a:r>
              <a:rPr lang="en-US" b="0" i="1" dirty="0"/>
              <a:t>Overall measurement burden and</a:t>
            </a:r>
          </a:p>
          <a:p>
            <a:pPr lvl="1">
              <a:spcAft>
                <a:spcPts val="1800"/>
              </a:spcAft>
            </a:pPr>
            <a:r>
              <a:rPr lang="en-US" b="0" i="1" dirty="0"/>
              <a:t>Retaining measures addressing subpopulations experiencing disparities.</a:t>
            </a:r>
          </a:p>
          <a:p>
            <a:pPr marL="0" indent="0">
              <a:buNone/>
            </a:pPr>
            <a:r>
              <a:rPr lang="en-US" dirty="0"/>
              <a:t>Do Taskforce members recommend any modifications?</a:t>
            </a:r>
          </a:p>
          <a:p>
            <a:endParaRPr lang="en-US" dirty="0"/>
          </a:p>
        </p:txBody>
      </p:sp>
    </p:spTree>
    <p:extLst>
      <p:ext uri="{BB962C8B-B14F-4D97-AF65-F5344CB8AC3E}">
        <p14:creationId xmlns:p14="http://schemas.microsoft.com/office/powerpoint/2010/main" val="214962742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46649-540C-4B93-B664-5A31806D1F4A}"/>
              </a:ext>
            </a:extLst>
          </p:cNvPr>
          <p:cNvSpPr>
            <a:spLocks noGrp="1"/>
          </p:cNvSpPr>
          <p:nvPr>
            <p:ph type="title"/>
          </p:nvPr>
        </p:nvSpPr>
        <p:spPr/>
        <p:txBody>
          <a:bodyPr/>
          <a:lstStyle/>
          <a:p>
            <a:r>
              <a:rPr lang="en-US"/>
              <a:t>Agenda</a:t>
            </a:r>
          </a:p>
        </p:txBody>
      </p:sp>
      <p:sp>
        <p:nvSpPr>
          <p:cNvPr id="3" name="Content Placeholder 2">
            <a:extLst>
              <a:ext uri="{FF2B5EF4-FFF2-40B4-BE49-F238E27FC236}">
                <a16:creationId xmlns:a16="http://schemas.microsoft.com/office/drawing/2014/main" id="{8E396B14-F9D7-4ACC-AED3-6E88E76396F5}"/>
              </a:ext>
            </a:extLst>
          </p:cNvPr>
          <p:cNvSpPr>
            <a:spLocks noGrp="1"/>
          </p:cNvSpPr>
          <p:nvPr>
            <p:ph sz="half" idx="1"/>
          </p:nvPr>
        </p:nvSpPr>
        <p:spPr>
          <a:xfrm>
            <a:off x="519332" y="1446631"/>
            <a:ext cx="8469923" cy="4556234"/>
          </a:xfrm>
        </p:spPr>
        <p:txBody>
          <a:bodyPr/>
          <a:lstStyle/>
          <a:p>
            <a:pPr marL="457200" indent="-457200">
              <a:buFont typeface="+mj-lt"/>
              <a:buAutoNum type="arabicPeriod"/>
            </a:pPr>
            <a:r>
              <a:rPr lang="en-US" sz="2200" dirty="0">
                <a:ea typeface="Times New Roman" panose="02020603050405020304" pitchFamily="18" charset="0"/>
                <a:cs typeface="Times New Roman" panose="02020603050405020304" pitchFamily="18" charset="0"/>
              </a:rPr>
              <a:t>Welcome</a:t>
            </a:r>
          </a:p>
          <a:p>
            <a:pPr marL="457200" indent="-457200">
              <a:buFont typeface="+mj-lt"/>
              <a:buAutoNum type="arabicPeriod"/>
            </a:pPr>
            <a:r>
              <a:rPr lang="en-US" sz="2200" dirty="0">
                <a:cs typeface="Times New Roman" panose="02020603050405020304" pitchFamily="18" charset="0"/>
              </a:rPr>
              <a:t>Annual review</a:t>
            </a:r>
          </a:p>
          <a:p>
            <a:pPr marL="644525" lvl="1" indent="-457200">
              <a:buFont typeface="+mj-lt"/>
              <a:buAutoNum type="alphaLcPeriod"/>
            </a:pPr>
            <a:r>
              <a:rPr lang="en-US" sz="2200" b="0" dirty="0">
                <a:cs typeface="Times New Roman" panose="02020603050405020304" pitchFamily="18" charset="0"/>
              </a:rPr>
              <a:t>Status updates</a:t>
            </a:r>
          </a:p>
          <a:p>
            <a:pPr marL="644525" lvl="1" indent="-457200">
              <a:buFont typeface="+mj-lt"/>
              <a:buAutoNum type="alphaLcPeriod"/>
            </a:pPr>
            <a:r>
              <a:rPr lang="en-US" sz="2200" b="0" dirty="0">
                <a:cs typeface="Times New Roman" panose="02020603050405020304" pitchFamily="18" charset="0"/>
              </a:rPr>
              <a:t>Language on maximum number of measures per contract</a:t>
            </a:r>
          </a:p>
          <a:p>
            <a:pPr marL="644525" lvl="1" indent="-457200">
              <a:buFont typeface="+mj-lt"/>
              <a:buAutoNum type="alphaLcPeriod"/>
            </a:pPr>
            <a:r>
              <a:rPr lang="en-US" sz="2200" b="0" dirty="0"/>
              <a:t>Consider possible new measures</a:t>
            </a:r>
          </a:p>
          <a:p>
            <a:pPr marL="644525" lvl="1" indent="-457200">
              <a:buFont typeface="+mj-lt"/>
              <a:buAutoNum type="alphaLcPeriod"/>
            </a:pPr>
            <a:r>
              <a:rPr lang="en-US" sz="2200" b="0" dirty="0">
                <a:cs typeface="Times New Roman" panose="02020603050405020304" pitchFamily="18" charset="0"/>
              </a:rPr>
              <a:t>Consider proposed HEDIS changes</a:t>
            </a:r>
            <a:endParaRPr lang="en-US" sz="2200" dirty="0">
              <a:cs typeface="Times New Roman" panose="02020603050405020304" pitchFamily="18" charset="0"/>
            </a:endParaRPr>
          </a:p>
          <a:p>
            <a:pPr marL="457200" indent="-457200">
              <a:buFont typeface="+mj-lt"/>
              <a:buAutoNum type="arabicPeriod"/>
            </a:pPr>
            <a:r>
              <a:rPr lang="en-US" sz="2200" dirty="0">
                <a:cs typeface="Times New Roman" panose="02020603050405020304" pitchFamily="18" charset="0"/>
              </a:rPr>
              <a:t>Next steps</a:t>
            </a:r>
            <a:endParaRPr lang="en-US" sz="2200" dirty="0"/>
          </a:p>
        </p:txBody>
      </p:sp>
      <p:sp>
        <p:nvSpPr>
          <p:cNvPr id="5" name="Rectangle 4">
            <a:extLst>
              <a:ext uri="{FF2B5EF4-FFF2-40B4-BE49-F238E27FC236}">
                <a16:creationId xmlns:a16="http://schemas.microsoft.com/office/drawing/2014/main" id="{D3915D3D-656E-48AA-8D63-358A7E5AA453}"/>
              </a:ext>
            </a:extLst>
          </p:cNvPr>
          <p:cNvSpPr/>
          <p:nvPr/>
        </p:nvSpPr>
        <p:spPr>
          <a:xfrm>
            <a:off x="0" y="3274772"/>
            <a:ext cx="9144000" cy="647634"/>
          </a:xfrm>
          <a:prstGeom prst="rect">
            <a:avLst/>
          </a:prstGeom>
          <a:solidFill>
            <a:srgbClr val="FFC000">
              <a:alpha val="3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9672525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10C97-9381-48F0-98B3-11EDA7DE1A05}"/>
              </a:ext>
            </a:extLst>
          </p:cNvPr>
          <p:cNvSpPr>
            <a:spLocks noGrp="1"/>
          </p:cNvSpPr>
          <p:nvPr>
            <p:ph type="title"/>
          </p:nvPr>
        </p:nvSpPr>
        <p:spPr>
          <a:xfrm>
            <a:off x="736599" y="109538"/>
            <a:ext cx="7675881" cy="762000"/>
          </a:xfrm>
        </p:spPr>
        <p:txBody>
          <a:bodyPr/>
          <a:lstStyle/>
          <a:p>
            <a:r>
              <a:rPr lang="en-US" dirty="0"/>
              <a:t>Annual Review Process</a:t>
            </a:r>
          </a:p>
        </p:txBody>
      </p:sp>
      <p:graphicFrame>
        <p:nvGraphicFramePr>
          <p:cNvPr id="4" name="Table 4">
            <a:extLst>
              <a:ext uri="{FF2B5EF4-FFF2-40B4-BE49-F238E27FC236}">
                <a16:creationId xmlns:a16="http://schemas.microsoft.com/office/drawing/2014/main" id="{2BF16781-B2A9-4BFA-A6A2-944B11AC9EC1}"/>
              </a:ext>
            </a:extLst>
          </p:cNvPr>
          <p:cNvGraphicFramePr>
            <a:graphicFrameLocks noGrp="1"/>
          </p:cNvGraphicFramePr>
          <p:nvPr>
            <p:extLst>
              <p:ext uri="{D42A27DB-BD31-4B8C-83A1-F6EECF244321}">
                <p14:modId xmlns:p14="http://schemas.microsoft.com/office/powerpoint/2010/main" val="2461427521"/>
              </p:ext>
            </p:extLst>
          </p:nvPr>
        </p:nvGraphicFramePr>
        <p:xfrm>
          <a:off x="304800" y="996207"/>
          <a:ext cx="8677832" cy="5034280"/>
        </p:xfrm>
        <a:graphic>
          <a:graphicData uri="http://schemas.openxmlformats.org/drawingml/2006/table">
            <a:tbl>
              <a:tblPr firstRow="1" bandRow="1">
                <a:tableStyleId>{5C22544A-7EE6-4342-B048-85BDC9FD1C3A}</a:tableStyleId>
              </a:tblPr>
              <a:tblGrid>
                <a:gridCol w="6759388">
                  <a:extLst>
                    <a:ext uri="{9D8B030D-6E8A-4147-A177-3AD203B41FA5}">
                      <a16:colId xmlns:a16="http://schemas.microsoft.com/office/drawing/2014/main" val="2134932523"/>
                    </a:ext>
                  </a:extLst>
                </a:gridCol>
                <a:gridCol w="1918444">
                  <a:extLst>
                    <a:ext uri="{9D8B030D-6E8A-4147-A177-3AD203B41FA5}">
                      <a16:colId xmlns:a16="http://schemas.microsoft.com/office/drawing/2014/main" val="1460023229"/>
                    </a:ext>
                  </a:extLst>
                </a:gridCol>
              </a:tblGrid>
              <a:tr h="370840">
                <a:tc>
                  <a:txBody>
                    <a:bodyPr/>
                    <a:lstStyle/>
                    <a:p>
                      <a:r>
                        <a:rPr lang="en-US">
                          <a:latin typeface="Book Antiqua" panose="02040602050305030304" pitchFamily="18" charset="0"/>
                        </a:rPr>
                        <a:t>Step</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r>
                        <a:rPr lang="en-US">
                          <a:latin typeface="Book Antiqua" panose="02040602050305030304" pitchFamily="18" charset="0"/>
                        </a:rPr>
                        <a:t>Tim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236262252"/>
                  </a:ext>
                </a:extLst>
              </a:tr>
              <a:tr h="370840">
                <a:tc>
                  <a:txBody>
                    <a:bodyPr/>
                    <a:lstStyle/>
                    <a:p>
                      <a:r>
                        <a:rPr lang="en-US" dirty="0">
                          <a:latin typeface="Book Antiqua" panose="02040602050305030304" pitchFamily="18" charset="0"/>
                        </a:rPr>
                        <a:t>1. </a:t>
                      </a:r>
                      <a:r>
                        <a:rPr lang="en-US" b="1" dirty="0">
                          <a:latin typeface="Book Antiqua" panose="02040602050305030304" pitchFamily="18" charset="0"/>
                        </a:rPr>
                        <a:t>Background</a:t>
                      </a:r>
                    </a:p>
                    <a:p>
                      <a:pPr marL="285750" indent="-285750">
                        <a:buFont typeface="Arial" panose="020B0604020202020204" pitchFamily="34" charset="0"/>
                        <a:buChar char="•"/>
                      </a:pPr>
                      <a:r>
                        <a:rPr lang="en-US" sz="1600" dirty="0">
                          <a:latin typeface="Book Antiqua" panose="02040602050305030304" pitchFamily="18" charset="0"/>
                        </a:rPr>
                        <a:t>Measure selection criteria</a:t>
                      </a:r>
                    </a:p>
                    <a:p>
                      <a:pPr marL="285750" indent="-285750">
                        <a:buFont typeface="Arial" panose="020B0604020202020204" pitchFamily="34" charset="0"/>
                        <a:buChar char="•"/>
                      </a:pPr>
                      <a:r>
                        <a:rPr lang="en-US" sz="1600" dirty="0">
                          <a:latin typeface="Book Antiqua" panose="02040602050305030304" pitchFamily="18" charset="0"/>
                        </a:rPr>
                        <a:t>State priorit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November</a:t>
                      </a:r>
                      <a:endParaRPr lang="en-US"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4863083"/>
                  </a:ext>
                </a:extLst>
              </a:tr>
              <a:tr h="370840">
                <a:tc>
                  <a:txBody>
                    <a:bodyPr/>
                    <a:lstStyle/>
                    <a:p>
                      <a:r>
                        <a:rPr lang="en-US" dirty="0">
                          <a:latin typeface="Book Antiqua" panose="02040602050305030304" pitchFamily="18" charset="0"/>
                        </a:rPr>
                        <a:t>2. </a:t>
                      </a:r>
                      <a:r>
                        <a:rPr lang="en-US" b="1" dirty="0">
                          <a:latin typeface="Book Antiqua" panose="02040602050305030304" pitchFamily="18" charset="0"/>
                        </a:rPr>
                        <a:t>Review of the existing measure set</a:t>
                      </a:r>
                      <a:endParaRPr lang="en-US" b="1" i="1" dirty="0">
                        <a:latin typeface="Book Antiqua" panose="0204060205030503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Opportunities to promote health equ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Specification changes</a:t>
                      </a:r>
                    </a:p>
                    <a:p>
                      <a:pPr marL="285750" indent="-285750">
                        <a:buFont typeface="Arial" panose="020B0604020202020204" pitchFamily="34" charset="0"/>
                        <a:buChar char="•"/>
                      </a:pPr>
                      <a:r>
                        <a:rPr lang="en-US" sz="1600" dirty="0">
                          <a:latin typeface="Book Antiqua" panose="02040602050305030304" pitchFamily="18" charset="0"/>
                        </a:rPr>
                        <a:t>Use in contracts (through review of the Quality Catalogue)</a:t>
                      </a:r>
                    </a:p>
                    <a:p>
                      <a:pPr marL="285750" indent="-285750">
                        <a:buFont typeface="Arial" panose="020B0604020202020204" pitchFamily="34" charset="0"/>
                        <a:buChar char="•"/>
                      </a:pPr>
                      <a:r>
                        <a:rPr lang="en-US" sz="1600" dirty="0">
                          <a:latin typeface="Book Antiqua" panose="02040602050305030304" pitchFamily="18" charset="0"/>
                        </a:rPr>
                        <a:t>Recent perform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January - March</a:t>
                      </a:r>
                      <a:endParaRPr lang="en-US"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7517770"/>
                  </a:ext>
                </a:extLst>
              </a:tr>
              <a:tr h="370840">
                <a:tc>
                  <a:txBody>
                    <a:bodyPr/>
                    <a:lstStyle/>
                    <a:p>
                      <a:r>
                        <a:rPr lang="en-US" dirty="0">
                          <a:latin typeface="Book Antiqua" panose="02040602050305030304" pitchFamily="18" charset="0"/>
                        </a:rPr>
                        <a:t>3. </a:t>
                      </a:r>
                      <a:r>
                        <a:rPr lang="en-US" b="1" dirty="0">
                          <a:latin typeface="Book Antiqua" panose="02040602050305030304" pitchFamily="18" charset="0"/>
                        </a:rPr>
                        <a:t>Consideration of new measures</a:t>
                      </a:r>
                    </a:p>
                    <a:p>
                      <a:pPr marL="285750" indent="-285750">
                        <a:buFont typeface="Arial" panose="020B0604020202020204" pitchFamily="34" charset="0"/>
                        <a:buChar char="•"/>
                      </a:pPr>
                      <a:r>
                        <a:rPr lang="en-US" sz="1600" dirty="0">
                          <a:latin typeface="Book Antiqua" panose="02040602050305030304" pitchFamily="18" charset="0"/>
                        </a:rPr>
                        <a:t>Revisit Prenatal and Postpartum Care: Postpartum Care and discuss Effective Contraceptive Use</a:t>
                      </a:r>
                    </a:p>
                    <a:p>
                      <a:pPr marL="285750" indent="-285750">
                        <a:buFont typeface="Arial" panose="020B0604020202020204" pitchFamily="34" charset="0"/>
                        <a:buChar char="•"/>
                      </a:pPr>
                      <a:r>
                        <a:rPr lang="en-US" sz="1600" dirty="0">
                          <a:latin typeface="Book Antiqua" panose="02040602050305030304" pitchFamily="18" charset="0"/>
                        </a:rPr>
                        <a:t>Revisit 2020 Developmental Measures</a:t>
                      </a:r>
                    </a:p>
                    <a:p>
                      <a:pPr marL="285750" indent="-285750">
                        <a:buFont typeface="Arial" panose="020B0604020202020204" pitchFamily="34" charset="0"/>
                        <a:buChar char="•"/>
                      </a:pPr>
                      <a:r>
                        <a:rPr lang="en-US" sz="1600" dirty="0">
                          <a:latin typeface="Book Antiqua" panose="02040602050305030304" pitchFamily="18" charset="0"/>
                        </a:rPr>
                        <a:t>New to HEDIS, the Medicaid Core Set, and MI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Others as recommended by the Taskfor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Book Antiqua" panose="02040602050305030304" pitchFamily="18" charset="0"/>
                        </a:rPr>
                        <a:t>Substance use disorder measures sc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a:latin typeface="Book Antiqua" panose="02040602050305030304" pitchFamily="18" charset="0"/>
                        </a:rPr>
                        <a:t>November, March – April</a:t>
                      </a:r>
                      <a:endParaRPr lang="en-US" dirty="0">
                        <a:latin typeface="Book Antiqua" panose="0204060205030503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1349080"/>
                  </a:ext>
                </a:extLst>
              </a:tr>
              <a:tr h="370840">
                <a:tc>
                  <a:txBody>
                    <a:bodyPr/>
                    <a:lstStyle/>
                    <a:p>
                      <a:r>
                        <a:rPr lang="en-US" dirty="0">
                          <a:latin typeface="Book Antiqua" panose="02040602050305030304" pitchFamily="18" charset="0"/>
                        </a:rPr>
                        <a:t>4. </a:t>
                      </a:r>
                      <a:r>
                        <a:rPr lang="en-US" b="1" dirty="0">
                          <a:latin typeface="Book Antiqua" panose="02040602050305030304" pitchFamily="18" charset="0"/>
                        </a:rPr>
                        <a:t>Revisit tentatively proposed changes, </a:t>
                      </a:r>
                      <a:r>
                        <a:rPr lang="en-US" b="1" i="0" u="none" dirty="0">
                          <a:latin typeface="Book Antiqua" panose="02040602050305030304" pitchFamily="18" charset="0"/>
                        </a:rPr>
                        <a:t>consider removal of measures,</a:t>
                      </a:r>
                      <a:r>
                        <a:rPr lang="en-US" b="1" dirty="0">
                          <a:latin typeface="Book Antiqua" panose="02040602050305030304" pitchFamily="18" charset="0"/>
                        </a:rPr>
                        <a:t> and finalize the Aligned Measure Set for 20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dirty="0">
                          <a:latin typeface="Book Antiqua" panose="02040602050305030304" pitchFamily="18" charset="0"/>
                        </a:rPr>
                        <a:t>M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78192272"/>
                  </a:ext>
                </a:extLst>
              </a:tr>
            </a:tbl>
          </a:graphicData>
        </a:graphic>
      </p:graphicFrame>
      <p:sp>
        <p:nvSpPr>
          <p:cNvPr id="3" name="Rectangle 2">
            <a:extLst>
              <a:ext uri="{FF2B5EF4-FFF2-40B4-BE49-F238E27FC236}">
                <a16:creationId xmlns:a16="http://schemas.microsoft.com/office/drawing/2014/main" id="{FCCCFF26-59F7-4A2D-8CB3-7E88C7E180D4}"/>
              </a:ext>
            </a:extLst>
          </p:cNvPr>
          <p:cNvSpPr/>
          <p:nvPr/>
        </p:nvSpPr>
        <p:spPr bwMode="auto">
          <a:xfrm>
            <a:off x="304800" y="3553850"/>
            <a:ext cx="8677832" cy="1834076"/>
          </a:xfrm>
          <a:prstGeom prst="rect">
            <a:avLst/>
          </a:prstGeom>
          <a:noFill/>
          <a:ln w="57150" cap="flat" cmpd="sng" algn="ctr">
            <a:solidFill>
              <a:srgbClr val="C00000"/>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ln>
                <a:noFill/>
              </a:ln>
              <a:solidFill>
                <a:schemeClr val="tx1"/>
              </a:solidFill>
              <a:effectLst/>
              <a:latin typeface="Arial" pitchFamily="34" charset="0"/>
            </a:endParaRPr>
          </a:p>
        </p:txBody>
      </p:sp>
    </p:spTree>
    <p:extLst>
      <p:ext uri="{BB962C8B-B14F-4D97-AF65-F5344CB8AC3E}">
        <p14:creationId xmlns:p14="http://schemas.microsoft.com/office/powerpoint/2010/main" val="69020187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10B20-2F1C-4478-9298-5E7801BD6B94}"/>
              </a:ext>
            </a:extLst>
          </p:cNvPr>
          <p:cNvSpPr>
            <a:spLocks noGrp="1"/>
          </p:cNvSpPr>
          <p:nvPr>
            <p:ph type="title"/>
          </p:nvPr>
        </p:nvSpPr>
        <p:spPr/>
        <p:txBody>
          <a:bodyPr/>
          <a:lstStyle/>
          <a:p>
            <a:r>
              <a:rPr lang="en-US" dirty="0"/>
              <a:t>Prenatal and Postpartum Care – Postpartum Care</a:t>
            </a:r>
          </a:p>
        </p:txBody>
      </p:sp>
      <p:sp>
        <p:nvSpPr>
          <p:cNvPr id="5" name="Content Placeholder 2">
            <a:extLst>
              <a:ext uri="{FF2B5EF4-FFF2-40B4-BE49-F238E27FC236}">
                <a16:creationId xmlns:a16="http://schemas.microsoft.com/office/drawing/2014/main" id="{8C65DC8F-88F6-4751-9D0C-91B4E41C5FCD}"/>
              </a:ext>
            </a:extLst>
          </p:cNvPr>
          <p:cNvSpPr txBox="1">
            <a:spLocks/>
          </p:cNvSpPr>
          <p:nvPr/>
        </p:nvSpPr>
        <p:spPr bwMode="auto">
          <a:xfrm>
            <a:off x="245598" y="1157033"/>
            <a:ext cx="8898402" cy="5089022"/>
          </a:xfrm>
          <a:prstGeom prst="rect">
            <a:avLst/>
          </a:prstGeom>
          <a:noFill/>
          <a:ln w="6350" cmpd="sng">
            <a:noFill/>
            <a:miter lim="800000"/>
            <a:headEnd/>
            <a:tailEnd/>
          </a:ln>
        </p:spPr>
        <p:txBody>
          <a:bodyPr vert="horz" wrap="square" lIns="45720" tIns="46038" rIns="45720" bIns="46038" numCol="1" anchor="t" anchorCtr="0" compatLnSpc="1">
            <a:prstTxWarp prst="textNoShape">
              <a:avLst/>
            </a:prstTxWarp>
          </a:bodyPr>
          <a:lstStyle>
            <a:lvl1pPr marL="381000" indent="-381000" algn="l" rtl="0" eaLnBrk="1" fontAlgn="base" hangingPunct="1">
              <a:spcBef>
                <a:spcPct val="0"/>
              </a:spcBef>
              <a:spcAft>
                <a:spcPts val="1200"/>
              </a:spcAft>
              <a:buClrTx/>
              <a:buSzPct val="100000"/>
              <a:buFont typeface="Wingdings" pitchFamily="2" charset="2"/>
              <a:buChar char="n"/>
              <a:defRPr sz="2000" b="1">
                <a:solidFill>
                  <a:schemeClr val="tx1"/>
                </a:solidFill>
                <a:latin typeface="Book Antiqua" pitchFamily="18" charset="0"/>
                <a:ea typeface="Calibri" pitchFamily="34" charset="0"/>
                <a:cs typeface="Calibri" pitchFamily="34" charset="0"/>
              </a:defRPr>
            </a:lvl1pPr>
            <a:lvl2pPr marL="568325" indent="-222250" algn="l" rtl="0" eaLnBrk="1" fontAlgn="base" hangingPunct="1">
              <a:spcBef>
                <a:spcPct val="0"/>
              </a:spcBef>
              <a:spcAft>
                <a:spcPts val="1200"/>
              </a:spcAft>
              <a:buClrTx/>
              <a:buSzPct val="100000"/>
              <a:buFont typeface="Arial" pitchFamily="34" charset="0"/>
              <a:buChar char="•"/>
              <a:defRPr sz="2000" b="1">
                <a:solidFill>
                  <a:schemeClr val="tx1"/>
                </a:solidFill>
                <a:latin typeface="Book Antiqua" pitchFamily="18" charset="0"/>
                <a:ea typeface="Calibri" pitchFamily="34" charset="0"/>
                <a:cs typeface="Calibri" pitchFamily="34" charset="0"/>
              </a:defRPr>
            </a:lvl2pPr>
            <a:lvl3pPr marL="739775" indent="-342900" algn="l" rtl="0" eaLnBrk="1" fontAlgn="base" hangingPunct="1">
              <a:lnSpc>
                <a:spcPct val="90000"/>
              </a:lnSpc>
              <a:spcBef>
                <a:spcPct val="25000"/>
              </a:spcBef>
              <a:spcAft>
                <a:spcPct val="0"/>
              </a:spcAft>
              <a:buClr>
                <a:schemeClr val="tx1"/>
              </a:buClr>
              <a:buNone/>
              <a:defRPr>
                <a:solidFill>
                  <a:schemeClr val="tx1"/>
                </a:solidFill>
                <a:latin typeface="+mn-lt"/>
                <a:ea typeface="Calibri" pitchFamily="34" charset="0"/>
                <a:cs typeface="Calibri" pitchFamily="34" charset="0"/>
              </a:defRPr>
            </a:lvl3pPr>
            <a:lvl4pPr marL="914400" indent="-346075" algn="l" rtl="0" eaLnBrk="1" fontAlgn="base" hangingPunct="1">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1" fontAlgn="base" hangingPunct="1">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6pPr>
            <a:lvl7pPr marL="22479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7pPr>
            <a:lvl8pPr marL="27051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8pPr>
            <a:lvl9pPr marL="3162300" indent="-304800" algn="l" rtl="0" eaLnBrk="1" fontAlgn="base" hangingPunct="1">
              <a:lnSpc>
                <a:spcPct val="90000"/>
              </a:lnSpc>
              <a:spcBef>
                <a:spcPct val="25000"/>
              </a:spcBef>
              <a:spcAft>
                <a:spcPct val="0"/>
              </a:spcAft>
              <a:buClr>
                <a:schemeClr val="tx1"/>
              </a:buClr>
              <a:buChar char="–"/>
              <a:defRPr sz="1600">
                <a:solidFill>
                  <a:schemeClr val="tx1"/>
                </a:solidFill>
                <a:latin typeface="+mn-lt"/>
              </a:defRPr>
            </a:lvl9pPr>
          </a:lstStyle>
          <a:p>
            <a:pPr marL="457200" indent="-457200">
              <a:spcAft>
                <a:spcPts val="1800"/>
              </a:spcAft>
            </a:pPr>
            <a:r>
              <a:rPr lang="en-US" sz="2100" b="0" kern="0" dirty="0">
                <a:cs typeface="Times New Roman" panose="02020603050405020304" pitchFamily="18" charset="0"/>
              </a:rPr>
              <a:t>During the February Taskforce meeting, a Taskforce member recommended moving Prenatal and Postpartum Care – Postpartum Care from the Monitoring Set to the Menu Set given the development of robust guidelines on postpartum care and its clinical importance. </a:t>
            </a:r>
          </a:p>
          <a:p>
            <a:pPr marL="457200" indent="-457200">
              <a:spcAft>
                <a:spcPts val="600"/>
              </a:spcAft>
            </a:pPr>
            <a:r>
              <a:rPr lang="en-US" sz="2100" b="0" kern="0" dirty="0">
                <a:cs typeface="Times New Roman" panose="02020603050405020304" pitchFamily="18" charset="0"/>
              </a:rPr>
              <a:t>Taskforce members who were less familiar with the measure, requested additional time to review the measure specifications. </a:t>
            </a:r>
          </a:p>
          <a:p>
            <a:r>
              <a:rPr lang="en-US" sz="2100" b="0" kern="0" dirty="0">
                <a:cs typeface="Times New Roman" panose="02020603050405020304" pitchFamily="18" charset="0"/>
              </a:rPr>
              <a:t>As a reminder, this measure lost NQF endorsement in 2016. Concerns related to the Postpartum Care component of the measure included concerns </a:t>
            </a:r>
            <a:r>
              <a:rPr lang="en-US" b="0" dirty="0"/>
              <a:t>about the timing of the care visit being based on expert opinion and not evidence and the content of the visits not being assessed.</a:t>
            </a:r>
          </a:p>
          <a:p>
            <a:pPr marL="457200" indent="-457200"/>
            <a:r>
              <a:rPr lang="en-US" sz="2100" kern="0" dirty="0">
                <a:cs typeface="Times New Roman" panose="02020603050405020304" pitchFamily="18" charset="0"/>
              </a:rPr>
              <a:t>Does the Taskforce recommend moving Prenatal and Postpartum Care – Postpartum Care to the Menu Set? </a:t>
            </a:r>
          </a:p>
          <a:p>
            <a:pPr marL="457200" indent="-457200"/>
            <a:endParaRPr lang="en-US" sz="2100" b="0" kern="0" dirty="0">
              <a:cs typeface="Times New Roman" panose="02020603050405020304" pitchFamily="18" charset="0"/>
            </a:endParaRPr>
          </a:p>
        </p:txBody>
      </p:sp>
    </p:spTree>
    <p:extLst>
      <p:ext uri="{BB962C8B-B14F-4D97-AF65-F5344CB8AC3E}">
        <p14:creationId xmlns:p14="http://schemas.microsoft.com/office/powerpoint/2010/main" val="327851445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EOHH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3F9B95F2EE52B4E9FB130DEE3F78C09" ma:contentTypeVersion="6" ma:contentTypeDescription="Create a new document." ma:contentTypeScope="" ma:versionID="ca0602ea54f9c51bfa1c05d1f8c9206a">
  <xsd:schema xmlns:xsd="http://www.w3.org/2001/XMLSchema" xmlns:xs="http://www.w3.org/2001/XMLSchema" xmlns:p="http://schemas.microsoft.com/office/2006/metadata/properties" xmlns:ns2="d29a8555-db37-4257-91ea-e6d336cdedf2" xmlns:ns3="34dc536f-1af3-405a-935d-0fb3b6674883" targetNamespace="http://schemas.microsoft.com/office/2006/metadata/properties" ma:root="true" ma:fieldsID="dc67b3305e56f01fc9e637268d932d2d" ns2:_="" ns3:_="">
    <xsd:import namespace="d29a8555-db37-4257-91ea-e6d336cdedf2"/>
    <xsd:import namespace="34dc536f-1af3-405a-935d-0fb3b6674883"/>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a8555-db37-4257-91ea-e6d336cdedf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4dc536f-1af3-405a-935d-0fb3b6674883"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d29a8555-db37-4257-91ea-e6d336cdedf2">
      <UserInfo>
        <DisplayName>Michael Bailit</DisplayName>
        <AccountId>22</AccountId>
        <AccountType/>
      </UserInfo>
      <UserInfo>
        <DisplayName>Deepti Kanneganti</DisplayName>
        <AccountId>15</AccountId>
        <AccountType/>
      </UserInfo>
      <UserInfo>
        <DisplayName>Justine Zayhowski</DisplayName>
        <AccountId>2633</AccountId>
        <AccountType/>
      </UserInfo>
      <UserInfo>
        <DisplayName>Lisa.Ahlgren@state.ma.us</DisplayName>
        <AccountId>3175</AccountId>
        <AccountType/>
      </UserInfo>
      <UserInfo>
        <DisplayName>Jennifer Sayles</DisplayName>
        <AccountId>4142</AccountId>
        <AccountType/>
      </UserInfo>
      <UserInfo>
        <DisplayName>Mary Beth Dyer</DisplayName>
        <AccountId>20</AccountId>
        <AccountType/>
      </UserInfo>
      <UserInfo>
        <DisplayName>Beth Waldman</DisplayName>
        <AccountId>37</AccountId>
        <AccountType/>
      </UserInfo>
    </SharedWithUsers>
  </documentManagement>
</p:properties>
</file>

<file path=customXml/itemProps1.xml><?xml version="1.0" encoding="utf-8"?>
<ds:datastoreItem xmlns:ds="http://schemas.openxmlformats.org/officeDocument/2006/customXml" ds:itemID="{7462C3C6-3E64-4F66-8292-8DAEACA6EE62}">
  <ds:schemaRefs>
    <ds:schemaRef ds:uri="http://schemas.microsoft.com/sharepoint/v3/contenttype/forms"/>
  </ds:schemaRefs>
</ds:datastoreItem>
</file>

<file path=customXml/itemProps2.xml><?xml version="1.0" encoding="utf-8"?>
<ds:datastoreItem xmlns:ds="http://schemas.openxmlformats.org/officeDocument/2006/customXml" ds:itemID="{C12E6B4B-7B64-44F9-9DAF-23A5E8422624}">
  <ds:schemaRefs>
    <ds:schemaRef ds:uri="34dc536f-1af3-405a-935d-0fb3b6674883"/>
    <ds:schemaRef ds:uri="d29a8555-db37-4257-91ea-e6d336cded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3D51BB9-DEB6-4460-8125-E187CA6439EC}">
  <ds:schemaRefs>
    <ds:schemaRef ds:uri="http://purl.org/dc/dcmitype/"/>
    <ds:schemaRef ds:uri="http://schemas.microsoft.com/office/infopath/2007/PartnerControls"/>
    <ds:schemaRef ds:uri="d29a8555-db37-4257-91ea-e6d336cdedf2"/>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34dc536f-1af3-405a-935d-0fb3b667488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Quality Measurement Taskforce Meeting 19</Template>
  <TotalTime>2545</TotalTime>
  <Words>4017</Words>
  <Application>Microsoft Office PowerPoint</Application>
  <PresentationFormat>On-screen Show (4:3)</PresentationFormat>
  <Paragraphs>387</Paragraphs>
  <Slides>45</Slides>
  <Notes>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4" baseType="lpstr">
      <vt:lpstr>Arial</vt:lpstr>
      <vt:lpstr>Book Antiqua</vt:lpstr>
      <vt:lpstr>Calibri</vt:lpstr>
      <vt:lpstr>Symbol</vt:lpstr>
      <vt:lpstr>Wingdings</vt:lpstr>
      <vt:lpstr>Wingdings 2</vt:lpstr>
      <vt:lpstr>EOHHS</vt:lpstr>
      <vt:lpstr>SRM_CF_DG1140</vt:lpstr>
      <vt:lpstr>think-cell Slide</vt:lpstr>
      <vt:lpstr>PowerPoint Presentation</vt:lpstr>
      <vt:lpstr>Agenda</vt:lpstr>
      <vt:lpstr>Agenda</vt:lpstr>
      <vt:lpstr>Status updates on follow-up items from previous meetings</vt:lpstr>
      <vt:lpstr>Agenda</vt:lpstr>
      <vt:lpstr>Language on maximum number of measures per contract</vt:lpstr>
      <vt:lpstr>Agenda</vt:lpstr>
      <vt:lpstr>Annual Review Process</vt:lpstr>
      <vt:lpstr>Prenatal and Postpartum Care – Postpartum Care</vt:lpstr>
      <vt:lpstr>Effective Contraceptive Care</vt:lpstr>
      <vt:lpstr>2020 Developmental Measure Priorities</vt:lpstr>
      <vt:lpstr>2020 Developmental Measure Priorities</vt:lpstr>
      <vt:lpstr>Kindergarten Readiness</vt:lpstr>
      <vt:lpstr>Kindergarten Readiness</vt:lpstr>
      <vt:lpstr>Kindergarten Readiness</vt:lpstr>
      <vt:lpstr>Kindergarten Readiness</vt:lpstr>
      <vt:lpstr>Depression Remission or Response for Adolescents and Adults</vt:lpstr>
      <vt:lpstr>2020 Developmental Measure Priorities</vt:lpstr>
      <vt:lpstr>Health Equity</vt:lpstr>
      <vt:lpstr>Health Equity</vt:lpstr>
      <vt:lpstr>Health Equity</vt:lpstr>
      <vt:lpstr>Health Equity</vt:lpstr>
      <vt:lpstr>Health Equity</vt:lpstr>
      <vt:lpstr>NCQA Proposal for Race and Ethnicity Stratifications</vt:lpstr>
      <vt:lpstr>NCQA Proposal for Race and Ethnicity Stratifications</vt:lpstr>
      <vt:lpstr>NCQA Proposed Candidate List for Race &amp; Ethnicity Stratification </vt:lpstr>
      <vt:lpstr>Health Equity:  Approaches in Other States</vt:lpstr>
      <vt:lpstr>Health Equity:  Mark Friedberg’s Suggestion</vt:lpstr>
      <vt:lpstr>Health Equity: Measure Option #1 RELD Data Collection</vt:lpstr>
      <vt:lpstr>Health Equity: Measure Option #2 RELD Disparity Measurement</vt:lpstr>
      <vt:lpstr>HEDIS 2019/2020 Measures of Interest to the Taskforce </vt:lpstr>
      <vt:lpstr>Proposed HEDIS 2022 New Measures</vt:lpstr>
      <vt:lpstr>New 2021 CMS Core Set Measures</vt:lpstr>
      <vt:lpstr>Social Risk Factor Measures</vt:lpstr>
      <vt:lpstr>Social Risk Factor Measures</vt:lpstr>
      <vt:lpstr>Agenda</vt:lpstr>
      <vt:lpstr>Proposed HEDIS Changes</vt:lpstr>
      <vt:lpstr>ECDS Roadmap</vt:lpstr>
      <vt:lpstr>ECDS Roadmap</vt:lpstr>
      <vt:lpstr>Impact of Proposed Changes on the MA Aligned Measure Set  - Core Measures</vt:lpstr>
      <vt:lpstr>Impact of Proposed Changes on the MA Aligned Measure Set  - Menu Measures</vt:lpstr>
      <vt:lpstr>Impact of Proposed Changes on the MA Aligned Measure Set  - Menu Measures</vt:lpstr>
      <vt:lpstr>Impact of Proposed Changes on the MA Aligned Measure Set  - Monitoring Measures</vt:lpstr>
      <vt:lpstr>Agenda</vt:lpstr>
      <vt:lpstr>Next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epti Kanneganti</dc:creator>
  <cp:lastModifiedBy>Justine Zayhowski</cp:lastModifiedBy>
  <cp:revision>2</cp:revision>
  <cp:lastPrinted>2020-01-22T12:56:50Z</cp:lastPrinted>
  <dcterms:created xsi:type="dcterms:W3CDTF">2018-07-16T19:03:48Z</dcterms:created>
  <dcterms:modified xsi:type="dcterms:W3CDTF">2021-03-17T16:4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F9B95F2EE52B4E9FB130DEE3F78C09</vt:lpwstr>
  </property>
</Properties>
</file>